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handoutMasters/handoutMaster1.xml" ContentType="application/vnd.openxmlformats-officedocument.presentationml.handoutMaster+xml"/>
  <Override PartName="/ppt/media/image3.svg" ContentType="image/svg+xml"/>
  <Override PartName="/ppt/media/image5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2" r:id="rId4"/>
    <p:sldMasterId id="2147483764" r:id="rId5"/>
    <p:sldMasterId id="2147483823" r:id="rId6"/>
    <p:sldMasterId id="2147483827" r:id="rId7"/>
  </p:sldMasterIdLst>
  <p:notesMasterIdLst>
    <p:notesMasterId r:id="rId125"/>
  </p:notesMasterIdLst>
  <p:handoutMasterIdLst>
    <p:handoutMasterId r:id="rId126"/>
  </p:handoutMasterIdLst>
  <p:sldIdLst>
    <p:sldId id="1218" r:id="rId8"/>
    <p:sldId id="1373" r:id="rId9"/>
  </p:sldIdLst>
  <p:sldSz cx="12192000" cy="6858000"/>
  <p:notesSz cx="7315200" cy="12344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E8C5759-9932-4959-B8B1-B28E47E5ED48}">
          <p14:sldIdLst>
            <p14:sldId id="1218"/>
            <p14:sldId id="1373"/>
            <p14:sldId id="1219"/>
            <p14:sldId id="1252"/>
            <p14:sldId id="1223"/>
            <p14:sldId id="1351"/>
            <p14:sldId id="1214"/>
            <p14:sldId id="1225"/>
            <p14:sldId id="1229"/>
            <p14:sldId id="1231"/>
            <p14:sldId id="1232"/>
            <p14:sldId id="1364"/>
            <p14:sldId id="1353"/>
            <p14:sldId id="1234"/>
            <p14:sldId id="1235"/>
            <p14:sldId id="1236"/>
            <p14:sldId id="1237"/>
            <p14:sldId id="1238"/>
            <p14:sldId id="1322"/>
            <p14:sldId id="1241"/>
            <p14:sldId id="1368"/>
            <p14:sldId id="1362"/>
            <p14:sldId id="1360"/>
            <p14:sldId id="1342"/>
            <p14:sldId id="1243"/>
            <p14:sldId id="1324"/>
            <p14:sldId id="1244"/>
            <p14:sldId id="1245"/>
            <p14:sldId id="1348"/>
            <p14:sldId id="1246"/>
            <p14:sldId id="1370"/>
            <p14:sldId id="1248"/>
            <p14:sldId id="1366"/>
            <p14:sldId id="1247"/>
            <p14:sldId id="1249"/>
            <p14:sldId id="1250"/>
            <p14:sldId id="1374"/>
            <p14:sldId id="1251"/>
            <p14:sldId id="1253"/>
            <p14:sldId id="1254"/>
            <p14:sldId id="1363"/>
            <p14:sldId id="1352"/>
            <p14:sldId id="1259"/>
            <p14:sldId id="1326"/>
            <p14:sldId id="1260"/>
            <p14:sldId id="1239"/>
            <p14:sldId id="1261"/>
            <p14:sldId id="1365"/>
            <p14:sldId id="1262"/>
            <p14:sldId id="1340"/>
            <p14:sldId id="1337"/>
            <p14:sldId id="1266"/>
            <p14:sldId id="1267"/>
            <p14:sldId id="1269"/>
            <p14:sldId id="1331"/>
            <p14:sldId id="1354"/>
            <p14:sldId id="1349"/>
            <p14:sldId id="1270"/>
            <p14:sldId id="1332"/>
            <p14:sldId id="1355"/>
            <p14:sldId id="1367"/>
            <p14:sldId id="1271"/>
            <p14:sldId id="1273"/>
            <p14:sldId id="1274"/>
            <p14:sldId id="1361"/>
            <p14:sldId id="1276"/>
            <p14:sldId id="1277"/>
            <p14:sldId id="1278"/>
            <p14:sldId id="1330"/>
            <p14:sldId id="1279"/>
            <p14:sldId id="1347"/>
            <p14:sldId id="1280"/>
            <p14:sldId id="1281"/>
            <p14:sldId id="1282"/>
            <p14:sldId id="1283"/>
            <p14:sldId id="1285"/>
            <p14:sldId id="1343"/>
            <p14:sldId id="1375"/>
            <p14:sldId id="1287"/>
            <p14:sldId id="1215"/>
            <p14:sldId id="1289"/>
            <p14:sldId id="1291"/>
            <p14:sldId id="1292"/>
            <p14:sldId id="1359"/>
            <p14:sldId id="1372"/>
            <p14:sldId id="1357"/>
            <p14:sldId id="1293"/>
            <p14:sldId id="1294"/>
            <p14:sldId id="1296"/>
            <p14:sldId id="1298"/>
            <p14:sldId id="1299"/>
            <p14:sldId id="1300"/>
            <p14:sldId id="1295"/>
            <p14:sldId id="1334"/>
            <p14:sldId id="1321"/>
            <p14:sldId id="1301"/>
            <p14:sldId id="1302"/>
            <p14:sldId id="1345"/>
            <p14:sldId id="1303"/>
            <p14:sldId id="1304"/>
            <p14:sldId id="1306"/>
            <p14:sldId id="1309"/>
            <p14:sldId id="1327"/>
            <p14:sldId id="1310"/>
            <p14:sldId id="1311"/>
            <p14:sldId id="1312"/>
            <p14:sldId id="1313"/>
            <p14:sldId id="1315"/>
            <p14:sldId id="1316"/>
            <p14:sldId id="1317"/>
            <p14:sldId id="1318"/>
            <p14:sldId id="1369"/>
            <p14:sldId id="1263"/>
            <p14:sldId id="1371"/>
          </p14:sldIdLst>
        </p14:section>
        <p14:section name="Photo Adjuster" id="{C005F969-84E6-499E-BFBF-17020EDA3DC9}">
          <p14:sldIdLst>
            <p14:sldId id="1320"/>
            <p14:sldId id="1356"/>
            <p14:sldId id="122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3A73"/>
    <a:srgbClr val="BE82FF"/>
    <a:srgbClr val="DCAFFF"/>
    <a:srgbClr val="C766FF"/>
    <a:srgbClr val="D5D5D1"/>
    <a:srgbClr val="FFFFFF"/>
    <a:srgbClr val="00EB81"/>
    <a:srgbClr val="E6DCFF"/>
    <a:srgbClr val="0041F0"/>
    <a:srgbClr val="FF5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EB6EEF-83A1-4F81-B6E5-2DC993363DAF}" vWet="2" dt="2024-04-04T11:44:53.932"/>
    <p1510:client id="{883B4BEC-4F92-4013-8461-F5EF7EE79EB1}" v="4" dt="2024-04-04T11:41:37.028"/>
    <p1510:client id="{8E0C6CE0-E926-4191-AA86-F43CB5B0A6F1}" v="225" dt="2024-04-04T11:56:21.468"/>
    <p1510:client id="{96B86926-2AAA-D777-DA6A-57AC34867AA9}" v="7" dt="2024-04-04T12:35:38.308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1.xml"/><Relationship Id="rId9" Type="http://schemas.openxmlformats.org/officeDocument/2006/relationships/slide" Target="slides/slide2.xml"/><Relationship Id="rId125" Type="http://schemas.openxmlformats.org/officeDocument/2006/relationships/notesMaster" Target="notesMasters/notesMaster1.xml"/><Relationship Id="rId126" Type="http://schemas.openxmlformats.org/officeDocument/2006/relationships/handoutMaster" Target="handoutMasters/handoutMaster1.xml"/><Relationship Id="rId127" Type="http://schemas.openxmlformats.org/officeDocument/2006/relationships/presProps" Target="presProps.xml"/><Relationship Id="rId128" Type="http://schemas.openxmlformats.org/officeDocument/2006/relationships/viewProps" Target="viewProps.xml"/><Relationship Id="rId129" Type="http://schemas.openxmlformats.org/officeDocument/2006/relationships/theme" Target="theme/theme1.xml"/><Relationship Id="rId130" Type="http://schemas.openxmlformats.org/officeDocument/2006/relationships/tableStyles" Target="tableStyles.xml"/><Relationship Id="rId131" Type="http://schemas.microsoft.com/office/2016/11/relationships/changesInfo" Target="changesInfos/changesInfo1.xml"/><Relationship Id="rId13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s, Michal" userId="S::michal.les@accenture.com::3ee9775d-ee9c-4cf4-aa28-4f2018cc7424" providerId="AD" clId="Web-{8A690F52-C315-FA77-128B-AEB3D9FE5DE5}"/>
    <pc:docChg chg="modSld">
      <pc:chgData name="Les, Michal" userId="S::michal.les@accenture.com::3ee9775d-ee9c-4cf4-aa28-4f2018cc7424" providerId="AD" clId="Web-{8A690F52-C315-FA77-128B-AEB3D9FE5DE5}" dt="2023-12-13T13:39:33.154" v="5" actId="1076"/>
      <pc:docMkLst>
        <pc:docMk/>
      </pc:docMkLst>
      <pc:sldChg chg="modSp">
        <pc:chgData name="Les, Michal" userId="S::michal.les@accenture.com::3ee9775d-ee9c-4cf4-aa28-4f2018cc7424" providerId="AD" clId="Web-{8A690F52-C315-FA77-128B-AEB3D9FE5DE5}" dt="2023-12-13T13:39:33.154" v="5" actId="1076"/>
        <pc:sldMkLst>
          <pc:docMk/>
          <pc:sldMk cId="593098658" sldId="1340"/>
        </pc:sldMkLst>
        <pc:picChg chg="mod">
          <ac:chgData name="Les, Michal" userId="S::michal.les@accenture.com::3ee9775d-ee9c-4cf4-aa28-4f2018cc7424" providerId="AD" clId="Web-{8A690F52-C315-FA77-128B-AEB3D9FE5DE5}" dt="2023-12-13T13:39:33.154" v="5" actId="1076"/>
          <ac:picMkLst>
            <pc:docMk/>
            <pc:sldMk cId="593098658" sldId="1340"/>
            <ac:picMk id="14" creationId="{2CAC3284-6743-EEE3-F3B2-F34EBF8D8DFF}"/>
          </ac:picMkLst>
        </pc:picChg>
      </pc:sldChg>
    </pc:docChg>
  </pc:docChgLst>
  <pc:docChgLst>
    <pc:chgData name="Kowalski, Pawel" userId="S::pawel.a.kowalski@accenture.com::af9a008a-95c1-47eb-96dd-53f566a37afc" providerId="AD" clId="Web-{1D39A487-E8CF-4283-1F72-858FF184417A}"/>
    <pc:docChg chg="modSld">
      <pc:chgData name="Kowalski, Pawel" userId="S::pawel.a.kowalski@accenture.com::af9a008a-95c1-47eb-96dd-53f566a37afc" providerId="AD" clId="Web-{1D39A487-E8CF-4283-1F72-858FF184417A}" dt="2024-03-18T11:55:08.810" v="243" actId="20577"/>
      <pc:docMkLst>
        <pc:docMk/>
      </pc:docMkLst>
      <pc:sldChg chg="modSp">
        <pc:chgData name="Kowalski, Pawel" userId="S::pawel.a.kowalski@accenture.com::af9a008a-95c1-47eb-96dd-53f566a37afc" providerId="AD" clId="Web-{1D39A487-E8CF-4283-1F72-858FF184417A}" dt="2024-03-18T11:55:08.810" v="243" actId="20577"/>
        <pc:sldMkLst>
          <pc:docMk/>
          <pc:sldMk cId="2098027197" sldId="1259"/>
        </pc:sldMkLst>
        <pc:spChg chg="mod">
          <ac:chgData name="Kowalski, Pawel" userId="S::pawel.a.kowalski@accenture.com::af9a008a-95c1-47eb-96dd-53f566a37afc" providerId="AD" clId="Web-{1D39A487-E8CF-4283-1F72-858FF184417A}" dt="2024-03-18T11:55:08.810" v="243" actId="20577"/>
          <ac:spMkLst>
            <pc:docMk/>
            <pc:sldMk cId="2098027197" sldId="1259"/>
            <ac:spMk id="10" creationId="{68D47195-2257-27FD-9554-F23924FA4345}"/>
          </ac:spMkLst>
        </pc:spChg>
      </pc:sldChg>
    </pc:docChg>
  </pc:docChgLst>
  <pc:docChgLst>
    <pc:chgData name="Olijnyk, Andrzej" userId="S::andrzej.olijnyk@accenture.com::97fc9162-950d-4416-82e1-4a96e43089c9" providerId="AD" clId="Web-{C4F4EC94-BE21-F6D5-6698-8A237541EE85}"/>
    <pc:docChg chg="addSld modSld modSection">
      <pc:chgData name="Olijnyk, Andrzej" userId="S::andrzej.olijnyk@accenture.com::97fc9162-950d-4416-82e1-4a96e43089c9" providerId="AD" clId="Web-{C4F4EC94-BE21-F6D5-6698-8A237541EE85}" dt="2023-12-08T15:23:49.433" v="123" actId="20577"/>
      <pc:docMkLst>
        <pc:docMk/>
      </pc:docMkLst>
      <pc:sldChg chg="modSp">
        <pc:chgData name="Olijnyk, Andrzej" userId="S::andrzej.olijnyk@accenture.com::97fc9162-950d-4416-82e1-4a96e43089c9" providerId="AD" clId="Web-{C4F4EC94-BE21-F6D5-6698-8A237541EE85}" dt="2023-12-08T15:23:49.433" v="123" actId="20577"/>
        <pc:sldMkLst>
          <pc:docMk/>
          <pc:sldMk cId="1300399888" sldId="1330"/>
        </pc:sldMkLst>
        <pc:spChg chg="mod">
          <ac:chgData name="Olijnyk, Andrzej" userId="S::andrzej.olijnyk@accenture.com::97fc9162-950d-4416-82e1-4a96e43089c9" providerId="AD" clId="Web-{C4F4EC94-BE21-F6D5-6698-8A237541EE85}" dt="2023-12-08T15:09:51.253" v="2" actId="20577"/>
          <ac:spMkLst>
            <pc:docMk/>
            <pc:sldMk cId="1300399888" sldId="1330"/>
            <ac:spMk id="3" creationId="{24306D85-71DB-A43C-EE9F-A05E2C3B843E}"/>
          </ac:spMkLst>
        </pc:spChg>
        <pc:spChg chg="mod">
          <ac:chgData name="Olijnyk, Andrzej" userId="S::andrzej.olijnyk@accenture.com::97fc9162-950d-4416-82e1-4a96e43089c9" providerId="AD" clId="Web-{C4F4EC94-BE21-F6D5-6698-8A237541EE85}" dt="2023-12-08T15:12:05.397" v="18" actId="14100"/>
          <ac:spMkLst>
            <pc:docMk/>
            <pc:sldMk cId="1300399888" sldId="1330"/>
            <ac:spMk id="5" creationId="{731985F1-A854-FF0C-23C8-8306F6E942BE}"/>
          </ac:spMkLst>
        </pc:spChg>
        <pc:spChg chg="mod">
          <ac:chgData name="Olijnyk, Andrzej" userId="S::andrzej.olijnyk@accenture.com::97fc9162-950d-4416-82e1-4a96e43089c9" providerId="AD" clId="Web-{C4F4EC94-BE21-F6D5-6698-8A237541EE85}" dt="2023-12-08T15:19:55.364" v="92" actId="20577"/>
          <ac:spMkLst>
            <pc:docMk/>
            <pc:sldMk cId="1300399888" sldId="1330"/>
            <ac:spMk id="7" creationId="{96CAE378-94B4-0269-C4D1-EBD2C607BCC3}"/>
          </ac:spMkLst>
        </pc:spChg>
        <pc:spChg chg="mod">
          <ac:chgData name="Olijnyk, Andrzej" userId="S::andrzej.olijnyk@accenture.com::97fc9162-950d-4416-82e1-4a96e43089c9" providerId="AD" clId="Web-{C4F4EC94-BE21-F6D5-6698-8A237541EE85}" dt="2023-12-08T15:22:59.025" v="119" actId="20577"/>
          <ac:spMkLst>
            <pc:docMk/>
            <pc:sldMk cId="1300399888" sldId="1330"/>
            <ac:spMk id="8" creationId="{A9D0EDE1-319C-F7C6-A99B-9FCF1CAD96E2}"/>
          </ac:spMkLst>
        </pc:spChg>
        <pc:spChg chg="mod">
          <ac:chgData name="Olijnyk, Andrzej" userId="S::andrzej.olijnyk@accenture.com::97fc9162-950d-4416-82e1-4a96e43089c9" providerId="AD" clId="Web-{C4F4EC94-BE21-F6D5-6698-8A237541EE85}" dt="2023-12-08T15:23:49.433" v="123" actId="20577"/>
          <ac:spMkLst>
            <pc:docMk/>
            <pc:sldMk cId="1300399888" sldId="1330"/>
            <ac:spMk id="10" creationId="{68D47195-2257-27FD-9554-F23924FA4345}"/>
          </ac:spMkLst>
        </pc:spChg>
      </pc:sldChg>
      <pc:sldChg chg="new">
        <pc:chgData name="Olijnyk, Andrzej" userId="S::andrzej.olijnyk@accenture.com::97fc9162-950d-4416-82e1-4a96e43089c9" providerId="AD" clId="Web-{C4F4EC94-BE21-F6D5-6698-8A237541EE85}" dt="2023-12-08T15:19:29.816" v="85"/>
        <pc:sldMkLst>
          <pc:docMk/>
          <pc:sldMk cId="3069348681" sldId="1356"/>
        </pc:sldMkLst>
      </pc:sldChg>
    </pc:docChg>
  </pc:docChgLst>
  <pc:docChgLst>
    <pc:chgData name="Wojewoda, Tomasz" userId="fc24f6b3-1960-46be-8f9e-164b1035a9d1" providerId="ADAL" clId="{3DA24651-CD71-438A-9594-F8E39074BE3B}"/>
    <pc:docChg chg="modSld">
      <pc:chgData name="Wojewoda, Tomasz" userId="fc24f6b3-1960-46be-8f9e-164b1035a9d1" providerId="ADAL" clId="{3DA24651-CD71-438A-9594-F8E39074BE3B}" dt="2024-03-05T08:39:16.602" v="0" actId="20577"/>
      <pc:docMkLst>
        <pc:docMk/>
      </pc:docMkLst>
      <pc:sldChg chg="modSp mod">
        <pc:chgData name="Wojewoda, Tomasz" userId="fc24f6b3-1960-46be-8f9e-164b1035a9d1" providerId="ADAL" clId="{3DA24651-CD71-438A-9594-F8E39074BE3B}" dt="2024-03-05T08:39:16.602" v="0" actId="20577"/>
        <pc:sldMkLst>
          <pc:docMk/>
          <pc:sldMk cId="1369299309" sldId="1315"/>
        </pc:sldMkLst>
        <pc:spChg chg="mod">
          <ac:chgData name="Wojewoda, Tomasz" userId="fc24f6b3-1960-46be-8f9e-164b1035a9d1" providerId="ADAL" clId="{3DA24651-CD71-438A-9594-F8E39074BE3B}" dt="2024-03-05T08:39:16.602" v="0" actId="20577"/>
          <ac:spMkLst>
            <pc:docMk/>
            <pc:sldMk cId="1369299309" sldId="1315"/>
            <ac:spMk id="8" creationId="{A9D0EDE1-319C-F7C6-A99B-9FCF1CAD96E2}"/>
          </ac:spMkLst>
        </pc:spChg>
      </pc:sldChg>
    </pc:docChg>
  </pc:docChgLst>
  <pc:docChgLst>
    <pc:chgData name="Gortych, Damian" userId="S::damian.gortych@accenture.com::b8f47322-7dd0-4de6-893a-0dd5c843a08f" providerId="AD" clId="Web-{0D090601-88AB-4D1B-9E77-9DC8869B3333}"/>
    <pc:docChg chg="modSld">
      <pc:chgData name="Gortych, Damian" userId="S::damian.gortych@accenture.com::b8f47322-7dd0-4de6-893a-0dd5c843a08f" providerId="AD" clId="Web-{0D090601-88AB-4D1B-9E77-9DC8869B3333}" dt="2024-03-06T17:09:00.764" v="27" actId="20577"/>
      <pc:docMkLst>
        <pc:docMk/>
      </pc:docMkLst>
      <pc:sldChg chg="modSp">
        <pc:chgData name="Gortych, Damian" userId="S::damian.gortych@accenture.com::b8f47322-7dd0-4de6-893a-0dd5c843a08f" providerId="AD" clId="Web-{0D090601-88AB-4D1B-9E77-9DC8869B3333}" dt="2024-03-06T17:09:00.764" v="27" actId="20577"/>
        <pc:sldMkLst>
          <pc:docMk/>
          <pc:sldMk cId="2847091332" sldId="1368"/>
        </pc:sldMkLst>
        <pc:spChg chg="mod">
          <ac:chgData name="Gortych, Damian" userId="S::damian.gortych@accenture.com::b8f47322-7dd0-4de6-893a-0dd5c843a08f" providerId="AD" clId="Web-{0D090601-88AB-4D1B-9E77-9DC8869B3333}" dt="2024-03-06T17:09:00.764" v="27" actId="20577"/>
          <ac:spMkLst>
            <pc:docMk/>
            <pc:sldMk cId="2847091332" sldId="1368"/>
            <ac:spMk id="8" creationId="{37C82AA2-F4DC-10F4-AB52-8FC1F24EB6E2}"/>
          </ac:spMkLst>
        </pc:spChg>
        <pc:spChg chg="mod">
          <ac:chgData name="Gortych, Damian" userId="S::damian.gortych@accenture.com::b8f47322-7dd0-4de6-893a-0dd5c843a08f" providerId="AD" clId="Web-{0D090601-88AB-4D1B-9E77-9DC8869B3333}" dt="2024-03-06T17:05:48.992" v="5" actId="20577"/>
          <ac:spMkLst>
            <pc:docMk/>
            <pc:sldMk cId="2847091332" sldId="1368"/>
            <ac:spMk id="10" creationId="{92312F48-4315-33D6-19FE-C7D670F14066}"/>
          </ac:spMkLst>
        </pc:spChg>
      </pc:sldChg>
    </pc:docChg>
  </pc:docChgLst>
  <pc:docChgLst>
    <pc:chgData name="Surdacki, Lukasz" userId="S::lukasz.surdacki@accenture.com::ce123e74-4454-46c1-bb0c-668acd036729" providerId="AD" clId="Web-{7FCA50C4-435E-CBFD-7D92-B1A53DE473A3}"/>
    <pc:docChg chg="addSld delSld sldOrd modSection">
      <pc:chgData name="Surdacki, Lukasz" userId="S::lukasz.surdacki@accenture.com::ce123e74-4454-46c1-bb0c-668acd036729" providerId="AD" clId="Web-{7FCA50C4-435E-CBFD-7D92-B1A53DE473A3}" dt="2023-12-05T15:04:12.022" v="2"/>
      <pc:docMkLst>
        <pc:docMk/>
      </pc:docMkLst>
      <pc:sldChg chg="add del">
        <pc:chgData name="Surdacki, Lukasz" userId="S::lukasz.surdacki@accenture.com::ce123e74-4454-46c1-bb0c-668acd036729" providerId="AD" clId="Web-{7FCA50C4-435E-CBFD-7D92-B1A53DE473A3}" dt="2023-12-05T15:04:00.193" v="1"/>
        <pc:sldMkLst>
          <pc:docMk/>
          <pc:sldMk cId="1755250638" sldId="1243"/>
        </pc:sldMkLst>
      </pc:sldChg>
      <pc:sldChg chg="ord">
        <pc:chgData name="Surdacki, Lukasz" userId="S::lukasz.surdacki@accenture.com::ce123e74-4454-46c1-bb0c-668acd036729" providerId="AD" clId="Web-{7FCA50C4-435E-CBFD-7D92-B1A53DE473A3}" dt="2023-12-05T15:04:12.022" v="2"/>
        <pc:sldMkLst>
          <pc:docMk/>
          <pc:sldMk cId="211902595" sldId="1342"/>
        </pc:sldMkLst>
      </pc:sldChg>
    </pc:docChg>
  </pc:docChgLst>
  <pc:docChgLst>
    <pc:chgData name="Cieslukowska, Kaja" userId="94aed517-129c-49f2-8909-55db1863f8a6" providerId="ADAL" clId="{5F33139F-CBA8-4D91-B584-F248F4407964}"/>
    <pc:docChg chg="undo custSel modSld">
      <pc:chgData name="Cieslukowska, Kaja" userId="94aed517-129c-49f2-8909-55db1863f8a6" providerId="ADAL" clId="{5F33139F-CBA8-4D91-B584-F248F4407964}" dt="2024-03-04T12:05:17.485" v="81" actId="20577"/>
      <pc:docMkLst>
        <pc:docMk/>
      </pc:docMkLst>
      <pc:sldChg chg="delSp mod">
        <pc:chgData name="Cieslukowska, Kaja" userId="94aed517-129c-49f2-8909-55db1863f8a6" providerId="ADAL" clId="{5F33139F-CBA8-4D91-B584-F248F4407964}" dt="2024-02-13T11:29:19.527" v="0" actId="478"/>
        <pc:sldMkLst>
          <pc:docMk/>
          <pc:sldMk cId="4271209257" sldId="1357"/>
        </pc:sldMkLst>
        <pc:spChg chg="del">
          <ac:chgData name="Cieslukowska, Kaja" userId="94aed517-129c-49f2-8909-55db1863f8a6" providerId="ADAL" clId="{5F33139F-CBA8-4D91-B584-F248F4407964}" dt="2024-02-13T11:29:19.527" v="0" actId="478"/>
          <ac:spMkLst>
            <pc:docMk/>
            <pc:sldMk cId="4271209257" sldId="1357"/>
            <ac:spMk id="15" creationId="{9EA9680B-770A-B3B8-A722-40F15E20CFF0}"/>
          </ac:spMkLst>
        </pc:spChg>
      </pc:sldChg>
      <pc:sldChg chg="modSp mod">
        <pc:chgData name="Cieslukowska, Kaja" userId="94aed517-129c-49f2-8909-55db1863f8a6" providerId="ADAL" clId="{5F33139F-CBA8-4D91-B584-F248F4407964}" dt="2024-03-04T12:05:17.485" v="81" actId="20577"/>
        <pc:sldMkLst>
          <pc:docMk/>
          <pc:sldMk cId="1109194527" sldId="1369"/>
        </pc:sldMkLst>
        <pc:spChg chg="mod">
          <ac:chgData name="Cieslukowska, Kaja" userId="94aed517-129c-49f2-8909-55db1863f8a6" providerId="ADAL" clId="{5F33139F-CBA8-4D91-B584-F248F4407964}" dt="2024-03-04T12:05:17.485" v="81" actId="20577"/>
          <ac:spMkLst>
            <pc:docMk/>
            <pc:sldMk cId="1109194527" sldId="1369"/>
            <ac:spMk id="8" creationId="{37C82AA2-F4DC-10F4-AB52-8FC1F24EB6E2}"/>
          </ac:spMkLst>
        </pc:spChg>
        <pc:spChg chg="mod">
          <ac:chgData name="Cieslukowska, Kaja" userId="94aed517-129c-49f2-8909-55db1863f8a6" providerId="ADAL" clId="{5F33139F-CBA8-4D91-B584-F248F4407964}" dt="2024-03-04T12:01:32.229" v="11" actId="20577"/>
          <ac:spMkLst>
            <pc:docMk/>
            <pc:sldMk cId="1109194527" sldId="1369"/>
            <ac:spMk id="10" creationId="{92312F48-4315-33D6-19FE-C7D670F14066}"/>
          </ac:spMkLst>
        </pc:spChg>
      </pc:sldChg>
    </pc:docChg>
  </pc:docChgLst>
  <pc:docChgLst>
    <pc:chgData name="Horosz, Magdalena" userId="0c241f8a-58d4-47bc-bff3-1315f4389c35" providerId="ADAL" clId="{14F3FA74-D2E0-4D2B-807B-E63E7F7A70E3}"/>
    <pc:docChg chg="custSel modSld">
      <pc:chgData name="Horosz, Magdalena" userId="0c241f8a-58d4-47bc-bff3-1315f4389c35" providerId="ADAL" clId="{14F3FA74-D2E0-4D2B-807B-E63E7F7A70E3}" dt="2024-01-04T13:30:17.853" v="118" actId="20577"/>
      <pc:docMkLst>
        <pc:docMk/>
      </pc:docMkLst>
      <pc:sldChg chg="modSp mod">
        <pc:chgData name="Horosz, Magdalena" userId="0c241f8a-58d4-47bc-bff3-1315f4389c35" providerId="ADAL" clId="{14F3FA74-D2E0-4D2B-807B-E63E7F7A70E3}" dt="2024-01-04T13:30:17.853" v="118" actId="20577"/>
        <pc:sldMkLst>
          <pc:docMk/>
          <pc:sldMk cId="2337435278" sldId="1248"/>
        </pc:sldMkLst>
        <pc:spChg chg="mod">
          <ac:chgData name="Horosz, Magdalena" userId="0c241f8a-58d4-47bc-bff3-1315f4389c35" providerId="ADAL" clId="{14F3FA74-D2E0-4D2B-807B-E63E7F7A70E3}" dt="2024-01-04T13:30:17.853" v="118" actId="20577"/>
          <ac:spMkLst>
            <pc:docMk/>
            <pc:sldMk cId="2337435278" sldId="1248"/>
            <ac:spMk id="8" creationId="{A9D0EDE1-319C-F7C6-A99B-9FCF1CAD96E2}"/>
          </ac:spMkLst>
        </pc:spChg>
      </pc:sldChg>
    </pc:docChg>
  </pc:docChgLst>
  <pc:docChgLst>
    <pc:chgData name="Jach, Agnieszka" userId="366b1e26-79c5-4729-9a9f-9e1f21bd2899" providerId="ADAL" clId="{878C1B66-ED26-4AA0-9E98-92D58ECE7BF2}"/>
    <pc:docChg chg="custSel modSld">
      <pc:chgData name="Jach, Agnieszka" userId="366b1e26-79c5-4729-9a9f-9e1f21bd2899" providerId="ADAL" clId="{878C1B66-ED26-4AA0-9E98-92D58ECE7BF2}" dt="2024-03-15T09:33:11.069" v="0" actId="478"/>
      <pc:docMkLst>
        <pc:docMk/>
      </pc:docMkLst>
      <pc:sldChg chg="delSp mod">
        <pc:chgData name="Jach, Agnieszka" userId="366b1e26-79c5-4729-9a9f-9e1f21bd2899" providerId="ADAL" clId="{878C1B66-ED26-4AA0-9E98-92D58ECE7BF2}" dt="2024-03-15T09:33:11.069" v="0" actId="478"/>
        <pc:sldMkLst>
          <pc:docMk/>
          <pc:sldMk cId="967545864" sldId="1360"/>
        </pc:sldMkLst>
        <pc:spChg chg="del">
          <ac:chgData name="Jach, Agnieszka" userId="366b1e26-79c5-4729-9a9f-9e1f21bd2899" providerId="ADAL" clId="{878C1B66-ED26-4AA0-9E98-92D58ECE7BF2}" dt="2024-03-15T09:33:11.069" v="0" actId="478"/>
          <ac:spMkLst>
            <pc:docMk/>
            <pc:sldMk cId="967545864" sldId="1360"/>
            <ac:spMk id="13" creationId="{00E9F46B-F649-0841-2908-B277358DDA02}"/>
          </ac:spMkLst>
        </pc:spChg>
      </pc:sldChg>
    </pc:docChg>
  </pc:docChgLst>
  <pc:docChgLst>
    <pc:chgData name="Kwarciany, Marcin" userId="0ea283b4-f273-43bb-a2bf-f35854715142" providerId="ADAL" clId="{2850115C-6B33-43F2-A0CE-CDA18DA9E889}"/>
    <pc:docChg chg="undo custSel addSld delSld modSld sldOrd modSection">
      <pc:chgData name="Kwarciany, Marcin" userId="0ea283b4-f273-43bb-a2bf-f35854715142" providerId="ADAL" clId="{2850115C-6B33-43F2-A0CE-CDA18DA9E889}" dt="2023-11-29T16:43:33.571" v="170" actId="47"/>
      <pc:docMkLst>
        <pc:docMk/>
      </pc:docMkLst>
      <pc:sldChg chg="modSp mod">
        <pc:chgData name="Kwarciany, Marcin" userId="0ea283b4-f273-43bb-a2bf-f35854715142" providerId="ADAL" clId="{2850115C-6B33-43F2-A0CE-CDA18DA9E889}" dt="2023-11-07T12:32:09.417" v="153" actId="20577"/>
        <pc:sldMkLst>
          <pc:docMk/>
          <pc:sldMk cId="166479993" sldId="1263"/>
        </pc:sldMkLst>
        <pc:spChg chg="mod">
          <ac:chgData name="Kwarciany, Marcin" userId="0ea283b4-f273-43bb-a2bf-f35854715142" providerId="ADAL" clId="{2850115C-6B33-43F2-A0CE-CDA18DA9E889}" dt="2023-11-07T12:32:09.417" v="153" actId="20577"/>
          <ac:spMkLst>
            <pc:docMk/>
            <pc:sldMk cId="166479993" sldId="1263"/>
            <ac:spMk id="8" creationId="{A9D0EDE1-319C-F7C6-A99B-9FCF1CAD96E2}"/>
          </ac:spMkLst>
        </pc:spChg>
      </pc:sldChg>
      <pc:sldChg chg="del">
        <pc:chgData name="Kwarciany, Marcin" userId="0ea283b4-f273-43bb-a2bf-f35854715142" providerId="ADAL" clId="{2850115C-6B33-43F2-A0CE-CDA18DA9E889}" dt="2023-11-29T16:43:33.571" v="170" actId="47"/>
        <pc:sldMkLst>
          <pc:docMk/>
          <pc:sldMk cId="4056503120" sldId="1338"/>
        </pc:sldMkLst>
      </pc:sldChg>
      <pc:sldChg chg="ord modNotesTx">
        <pc:chgData name="Kwarciany, Marcin" userId="0ea283b4-f273-43bb-a2bf-f35854715142" providerId="ADAL" clId="{2850115C-6B33-43F2-A0CE-CDA18DA9E889}" dt="2023-10-23T08:52:29.793" v="45"/>
        <pc:sldMkLst>
          <pc:docMk/>
          <pc:sldMk cId="3967085744" sldId="1347"/>
        </pc:sldMkLst>
      </pc:sldChg>
      <pc:sldChg chg="modNotesTx">
        <pc:chgData name="Kwarciany, Marcin" userId="0ea283b4-f273-43bb-a2bf-f35854715142" providerId="ADAL" clId="{2850115C-6B33-43F2-A0CE-CDA18DA9E889}" dt="2023-10-23T08:53:43.979" v="68" actId="5793"/>
        <pc:sldMkLst>
          <pc:docMk/>
          <pc:sldMk cId="3110582467" sldId="1348"/>
        </pc:sldMkLst>
      </pc:sldChg>
      <pc:sldChg chg="modNotesTx">
        <pc:chgData name="Kwarciany, Marcin" userId="0ea283b4-f273-43bb-a2bf-f35854715142" providerId="ADAL" clId="{2850115C-6B33-43F2-A0CE-CDA18DA9E889}" dt="2023-10-23T09:51:39.281" v="80" actId="20577"/>
        <pc:sldMkLst>
          <pc:docMk/>
          <pc:sldMk cId="1180456054" sldId="1349"/>
        </pc:sldMkLst>
      </pc:sldChg>
      <pc:sldChg chg="add modNotesTx">
        <pc:chgData name="Kwarciany, Marcin" userId="0ea283b4-f273-43bb-a2bf-f35854715142" providerId="ADAL" clId="{2850115C-6B33-43F2-A0CE-CDA18DA9E889}" dt="2023-10-23T09:51:26.814" v="74" actId="20577"/>
        <pc:sldMkLst>
          <pc:docMk/>
          <pc:sldMk cId="3831383783" sldId="1352"/>
        </pc:sldMkLst>
      </pc:sldChg>
      <pc:sldChg chg="modNotesTx">
        <pc:chgData name="Kwarciany, Marcin" userId="0ea283b4-f273-43bb-a2bf-f35854715142" providerId="ADAL" clId="{2850115C-6B33-43F2-A0CE-CDA18DA9E889}" dt="2023-11-03T09:37:22.441" v="122" actId="20577"/>
        <pc:sldMkLst>
          <pc:docMk/>
          <pc:sldMk cId="4109088728" sldId="1355"/>
        </pc:sldMkLst>
      </pc:sldChg>
      <pc:sldChg chg="modNotesTx">
        <pc:chgData name="Kwarciany, Marcin" userId="0ea283b4-f273-43bb-a2bf-f35854715142" providerId="ADAL" clId="{2850115C-6B33-43F2-A0CE-CDA18DA9E889}" dt="2023-11-29T16:32:19.603" v="168" actId="20577"/>
        <pc:sldMkLst>
          <pc:docMk/>
          <pc:sldMk cId="1736233114" sldId="1356"/>
        </pc:sldMkLst>
      </pc:sldChg>
      <pc:sldChg chg="add">
        <pc:chgData name="Kwarciany, Marcin" userId="0ea283b4-f273-43bb-a2bf-f35854715142" providerId="ADAL" clId="{2850115C-6B33-43F2-A0CE-CDA18DA9E889}" dt="2023-11-29T16:42:49.726" v="169"/>
        <pc:sldMkLst>
          <pc:docMk/>
          <pc:sldMk cId="2441216168" sldId="1357"/>
        </pc:sldMkLst>
      </pc:sldChg>
    </pc:docChg>
  </pc:docChgLst>
  <pc:docChgLst>
    <pc:chgData name="Korneta, Iga" userId="S::iga.korneta@accenture.com::5bb3f265-4f39-4daa-912c-5caa86b505fb" providerId="AD" clId="Web-{D2F84075-BC14-0BD2-BDFE-9CE102B15EEA}"/>
    <pc:docChg chg="sldOrd">
      <pc:chgData name="Korneta, Iga" userId="S::iga.korneta@accenture.com::5bb3f265-4f39-4daa-912c-5caa86b505fb" providerId="AD" clId="Web-{D2F84075-BC14-0BD2-BDFE-9CE102B15EEA}" dt="2024-03-22T12:00:29.042" v="1"/>
      <pc:docMkLst>
        <pc:docMk/>
      </pc:docMkLst>
      <pc:sldChg chg="ord">
        <pc:chgData name="Korneta, Iga" userId="S::iga.korneta@accenture.com::5bb3f265-4f39-4daa-912c-5caa86b505fb" providerId="AD" clId="Web-{D2F84075-BC14-0BD2-BDFE-9CE102B15EEA}" dt="2024-03-22T12:00:12.994" v="0"/>
        <pc:sldMkLst>
          <pc:docMk/>
          <pc:sldMk cId="2838923465" sldId="1219"/>
        </pc:sldMkLst>
      </pc:sldChg>
      <pc:sldChg chg="ord">
        <pc:chgData name="Korneta, Iga" userId="S::iga.korneta@accenture.com::5bb3f265-4f39-4daa-912c-5caa86b505fb" providerId="AD" clId="Web-{D2F84075-BC14-0BD2-BDFE-9CE102B15EEA}" dt="2024-03-22T12:00:29.042" v="1"/>
        <pc:sldMkLst>
          <pc:docMk/>
          <pc:sldMk cId="210554779" sldId="1225"/>
        </pc:sldMkLst>
      </pc:sldChg>
    </pc:docChg>
  </pc:docChgLst>
  <pc:docChgLst>
    <pc:chgData name="Les, Michal" userId="S::michal.les@accenture.com::3ee9775d-ee9c-4cf4-aa28-4f2018cc7424" providerId="AD" clId="Web-{CAE28183-48E1-75CC-2CB4-8697B8496E6A}"/>
    <pc:docChg chg="modSld">
      <pc:chgData name="Les, Michal" userId="S::michal.les@accenture.com::3ee9775d-ee9c-4cf4-aa28-4f2018cc7424" providerId="AD" clId="Web-{CAE28183-48E1-75CC-2CB4-8697B8496E6A}" dt="2024-01-24T15:31:26.844" v="3" actId="20577"/>
      <pc:docMkLst>
        <pc:docMk/>
      </pc:docMkLst>
      <pc:sldChg chg="modSp">
        <pc:chgData name="Les, Michal" userId="S::michal.les@accenture.com::3ee9775d-ee9c-4cf4-aa28-4f2018cc7424" providerId="AD" clId="Web-{CAE28183-48E1-75CC-2CB4-8697B8496E6A}" dt="2024-01-24T15:31:26.844" v="3" actId="20577"/>
        <pc:sldMkLst>
          <pc:docMk/>
          <pc:sldMk cId="593098658" sldId="1340"/>
        </pc:sldMkLst>
        <pc:spChg chg="mod">
          <ac:chgData name="Les, Michal" userId="S::michal.les@accenture.com::3ee9775d-ee9c-4cf4-aa28-4f2018cc7424" providerId="AD" clId="Web-{CAE28183-48E1-75CC-2CB4-8697B8496E6A}" dt="2024-01-24T15:31:26.844" v="3" actId="20577"/>
          <ac:spMkLst>
            <pc:docMk/>
            <pc:sldMk cId="593098658" sldId="1340"/>
            <ac:spMk id="10" creationId="{A004E5B0-E7EC-3413-16FD-505F7871D475}"/>
          </ac:spMkLst>
        </pc:spChg>
      </pc:sldChg>
    </pc:docChg>
  </pc:docChgLst>
  <pc:docChgLst>
    <pc:chgData name="Smaga, Tomasz" userId="12fc1883-96d9-40ae-b28b-1114c7e6d083" providerId="ADAL" clId="{6D0D6604-345F-42F5-AEFC-F5016F7960DB}"/>
    <pc:docChg chg="undo custSel modSld sldOrd">
      <pc:chgData name="Smaga, Tomasz" userId="12fc1883-96d9-40ae-b28b-1114c7e6d083" providerId="ADAL" clId="{6D0D6604-345F-42F5-AEFC-F5016F7960DB}" dt="2024-03-21T08:15:41.059" v="464" actId="20577"/>
      <pc:docMkLst>
        <pc:docMk/>
      </pc:docMkLst>
      <pc:sldChg chg="mod modShow">
        <pc:chgData name="Smaga, Tomasz" userId="12fc1883-96d9-40ae-b28b-1114c7e6d083" providerId="ADAL" clId="{6D0D6604-345F-42F5-AEFC-F5016F7960DB}" dt="2024-03-01T12:23:21.336" v="449" actId="729"/>
        <pc:sldMkLst>
          <pc:docMk/>
          <pc:sldMk cId="485924706" sldId="1250"/>
        </pc:sldMkLst>
      </pc:sldChg>
      <pc:sldChg chg="modSp mod">
        <pc:chgData name="Smaga, Tomasz" userId="12fc1883-96d9-40ae-b28b-1114c7e6d083" providerId="ADAL" clId="{6D0D6604-345F-42F5-AEFC-F5016F7960DB}" dt="2024-03-18T12:21:07.947" v="454" actId="27636"/>
        <pc:sldMkLst>
          <pc:docMk/>
          <pc:sldMk cId="3706624102" sldId="1322"/>
        </pc:sldMkLst>
        <pc:spChg chg="mod">
          <ac:chgData name="Smaga, Tomasz" userId="12fc1883-96d9-40ae-b28b-1114c7e6d083" providerId="ADAL" clId="{6D0D6604-345F-42F5-AEFC-F5016F7960DB}" dt="2024-03-18T12:21:07.947" v="454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Smaga, Tomasz" userId="12fc1883-96d9-40ae-b28b-1114c7e6d083" providerId="ADAL" clId="{6D0D6604-345F-42F5-AEFC-F5016F7960DB}" dt="2024-03-18T12:21:07.436" v="452" actId="27636"/>
        <pc:sldMkLst>
          <pc:docMk/>
          <pc:sldMk cId="3967085744" sldId="1347"/>
        </pc:sldMkLst>
        <pc:spChg chg="mod">
          <ac:chgData name="Smaga, Tomasz" userId="12fc1883-96d9-40ae-b28b-1114c7e6d083" providerId="ADAL" clId="{6D0D6604-345F-42F5-AEFC-F5016F7960DB}" dt="2024-03-18T12:21:07.414" v="451" actId="27636"/>
          <ac:spMkLst>
            <pc:docMk/>
            <pc:sldMk cId="3967085744" sldId="1347"/>
            <ac:spMk id="2" creationId="{907A6792-CD02-599B-4146-7772C73B01E3}"/>
          </ac:spMkLst>
        </pc:spChg>
        <pc:spChg chg="mod">
          <ac:chgData name="Smaga, Tomasz" userId="12fc1883-96d9-40ae-b28b-1114c7e6d083" providerId="ADAL" clId="{6D0D6604-345F-42F5-AEFC-F5016F7960DB}" dt="2024-03-18T12:21:07.436" v="452" actId="27636"/>
          <ac:spMkLst>
            <pc:docMk/>
            <pc:sldMk cId="3967085744" sldId="1347"/>
            <ac:spMk id="7" creationId="{83D1AB77-327B-D8C5-CF7B-688095FA023A}"/>
          </ac:spMkLst>
        </pc:spChg>
      </pc:sldChg>
      <pc:sldChg chg="modSp mod">
        <pc:chgData name="Smaga, Tomasz" userId="12fc1883-96d9-40ae-b28b-1114c7e6d083" providerId="ADAL" clId="{6D0D6604-345F-42F5-AEFC-F5016F7960DB}" dt="2024-03-18T12:21:06.626" v="450" actId="27636"/>
        <pc:sldMkLst>
          <pc:docMk/>
          <pc:sldMk cId="1949626962" sldId="1349"/>
        </pc:sldMkLst>
        <pc:spChg chg="mod">
          <ac:chgData name="Smaga, Tomasz" userId="12fc1883-96d9-40ae-b28b-1114c7e6d083" providerId="ADAL" clId="{6D0D6604-345F-42F5-AEFC-F5016F7960DB}" dt="2024-03-18T12:21:06.626" v="450" actId="27636"/>
          <ac:spMkLst>
            <pc:docMk/>
            <pc:sldMk cId="1949626962" sldId="1349"/>
            <ac:spMk id="2" creationId="{907A6792-CD02-599B-4146-7772C73B01E3}"/>
          </ac:spMkLst>
        </pc:spChg>
      </pc:sldChg>
      <pc:sldChg chg="modSp mod">
        <pc:chgData name="Smaga, Tomasz" userId="12fc1883-96d9-40ae-b28b-1114c7e6d083" providerId="ADAL" clId="{6D0D6604-345F-42F5-AEFC-F5016F7960DB}" dt="2024-03-18T12:21:07.544" v="453" actId="27636"/>
        <pc:sldMkLst>
          <pc:docMk/>
          <pc:sldMk cId="628719752" sldId="1353"/>
        </pc:sldMkLst>
        <pc:spChg chg="mod">
          <ac:chgData name="Smaga, Tomasz" userId="12fc1883-96d9-40ae-b28b-1114c7e6d083" providerId="ADAL" clId="{6D0D6604-345F-42F5-AEFC-F5016F7960DB}" dt="2024-03-18T12:21:07.544" v="453" actId="27636"/>
          <ac:spMkLst>
            <pc:docMk/>
            <pc:sldMk cId="628719752" sldId="1353"/>
            <ac:spMk id="7" creationId="{83D1AB77-327B-D8C5-CF7B-688095FA023A}"/>
          </ac:spMkLst>
        </pc:spChg>
      </pc:sldChg>
      <pc:sldChg chg="addSp delSp modSp mod ord">
        <pc:chgData name="Smaga, Tomasz" userId="12fc1883-96d9-40ae-b28b-1114c7e6d083" providerId="ADAL" clId="{6D0D6604-345F-42F5-AEFC-F5016F7960DB}" dt="2024-03-21T08:15:41.059" v="464" actId="20577"/>
        <pc:sldMkLst>
          <pc:docMk/>
          <pc:sldMk cId="2326664230" sldId="1366"/>
        </pc:sldMkLst>
        <pc:spChg chg="mod">
          <ac:chgData name="Smaga, Tomasz" userId="12fc1883-96d9-40ae-b28b-1114c7e6d083" providerId="ADAL" clId="{6D0D6604-345F-42F5-AEFC-F5016F7960DB}" dt="2024-02-22T12:08:22.966" v="442" actId="20577"/>
          <ac:spMkLst>
            <pc:docMk/>
            <pc:sldMk cId="2326664230" sldId="1366"/>
            <ac:spMk id="2" creationId="{B1B30B32-CD37-0E04-C6E3-83A31BB57983}"/>
          </ac:spMkLst>
        </pc:spChg>
        <pc:spChg chg="mod">
          <ac:chgData name="Smaga, Tomasz" userId="12fc1883-96d9-40ae-b28b-1114c7e6d083" providerId="ADAL" clId="{6D0D6604-345F-42F5-AEFC-F5016F7960DB}" dt="2024-02-22T11:53:09.337" v="63" actId="20577"/>
          <ac:spMkLst>
            <pc:docMk/>
            <pc:sldMk cId="2326664230" sldId="1366"/>
            <ac:spMk id="3" creationId="{6EB5865F-1DB2-9704-D13D-FFBC0190B5DD}"/>
          </ac:spMkLst>
        </pc:spChg>
        <pc:spChg chg="mod">
          <ac:chgData name="Smaga, Tomasz" userId="12fc1883-96d9-40ae-b28b-1114c7e6d083" providerId="ADAL" clId="{6D0D6604-345F-42F5-AEFC-F5016F7960DB}" dt="2024-02-22T11:50:22.097" v="17" actId="20577"/>
          <ac:spMkLst>
            <pc:docMk/>
            <pc:sldMk cId="2326664230" sldId="1366"/>
            <ac:spMk id="4" creationId="{DEFFC2F2-5427-A189-98F7-A9DFC128D02B}"/>
          </ac:spMkLst>
        </pc:spChg>
        <pc:spChg chg="mod">
          <ac:chgData name="Smaga, Tomasz" userId="12fc1883-96d9-40ae-b28b-1114c7e6d083" providerId="ADAL" clId="{6D0D6604-345F-42F5-AEFC-F5016F7960DB}" dt="2024-02-22T11:50:30.628" v="42" actId="20577"/>
          <ac:spMkLst>
            <pc:docMk/>
            <pc:sldMk cId="2326664230" sldId="1366"/>
            <ac:spMk id="5" creationId="{AAE3F712-037F-0BA0-2718-D2983F733C4B}"/>
          </ac:spMkLst>
        </pc:spChg>
        <pc:spChg chg="del">
          <ac:chgData name="Smaga, Tomasz" userId="12fc1883-96d9-40ae-b28b-1114c7e6d083" providerId="ADAL" clId="{6D0D6604-345F-42F5-AEFC-F5016F7960DB}" dt="2024-02-22T11:51:03.753" v="43" actId="22"/>
          <ac:spMkLst>
            <pc:docMk/>
            <pc:sldMk cId="2326664230" sldId="1366"/>
            <ac:spMk id="6" creationId="{B52C9BF5-8F26-923E-6E32-1AC61EC80001}"/>
          </ac:spMkLst>
        </pc:spChg>
        <pc:spChg chg="mod">
          <ac:chgData name="Smaga, Tomasz" userId="12fc1883-96d9-40ae-b28b-1114c7e6d083" providerId="ADAL" clId="{6D0D6604-345F-42F5-AEFC-F5016F7960DB}" dt="2024-02-22T11:54:16.413" v="163" actId="113"/>
          <ac:spMkLst>
            <pc:docMk/>
            <pc:sldMk cId="2326664230" sldId="1366"/>
            <ac:spMk id="7" creationId="{B4F12F25-F5B8-1D4F-D9E8-1A52C10C0EA3}"/>
          </ac:spMkLst>
        </pc:spChg>
        <pc:spChg chg="mod">
          <ac:chgData name="Smaga, Tomasz" userId="12fc1883-96d9-40ae-b28b-1114c7e6d083" providerId="ADAL" clId="{6D0D6604-345F-42F5-AEFC-F5016F7960DB}" dt="2024-03-21T08:15:41.059" v="464" actId="20577"/>
          <ac:spMkLst>
            <pc:docMk/>
            <pc:sldMk cId="2326664230" sldId="1366"/>
            <ac:spMk id="8" creationId="{37C82AA2-F4DC-10F4-AB52-8FC1F24EB6E2}"/>
          </ac:spMkLst>
        </pc:spChg>
        <pc:spChg chg="mod">
          <ac:chgData name="Smaga, Tomasz" userId="12fc1883-96d9-40ae-b28b-1114c7e6d083" providerId="ADAL" clId="{6D0D6604-345F-42F5-AEFC-F5016F7960DB}" dt="2024-02-22T11:53:47.521" v="155" actId="20577"/>
          <ac:spMkLst>
            <pc:docMk/>
            <pc:sldMk cId="2326664230" sldId="1366"/>
            <ac:spMk id="9" creationId="{605FC3C9-21B3-EDFB-AB33-A2F0BE5F4BF0}"/>
          </ac:spMkLst>
        </pc:spChg>
        <pc:spChg chg="mod">
          <ac:chgData name="Smaga, Tomasz" userId="12fc1883-96d9-40ae-b28b-1114c7e6d083" providerId="ADAL" clId="{6D0D6604-345F-42F5-AEFC-F5016F7960DB}" dt="2024-02-22T11:58:59.790" v="341" actId="20577"/>
          <ac:spMkLst>
            <pc:docMk/>
            <pc:sldMk cId="2326664230" sldId="1366"/>
            <ac:spMk id="10" creationId="{92312F48-4315-33D6-19FE-C7D670F14066}"/>
          </ac:spMkLst>
        </pc:spChg>
        <pc:picChg chg="add mod ord">
          <ac:chgData name="Smaga, Tomasz" userId="12fc1883-96d9-40ae-b28b-1114c7e6d083" providerId="ADAL" clId="{6D0D6604-345F-42F5-AEFC-F5016F7960DB}" dt="2024-02-22T11:51:03.753" v="43" actId="22"/>
          <ac:picMkLst>
            <pc:docMk/>
            <pc:sldMk cId="2326664230" sldId="1366"/>
            <ac:picMk id="12" creationId="{9F692F38-059F-D872-17F3-1DE2B1AE7BF1}"/>
          </ac:picMkLst>
        </pc:picChg>
      </pc:sldChg>
    </pc:docChg>
  </pc:docChgLst>
  <pc:docChgLst>
    <pc:chgData name="Matynia, Jan" userId="S::jan.matynia@accenture.com::1875d1cb-629a-43c7-a46a-bf28ab4e7428" providerId="AD" clId="Web-{A1726CEC-4D9F-987C-1F02-7BA429BB7448}"/>
    <pc:docChg chg="modSld">
      <pc:chgData name="Matynia, Jan" userId="S::jan.matynia@accenture.com::1875d1cb-629a-43c7-a46a-bf28ab4e7428" providerId="AD" clId="Web-{A1726CEC-4D9F-987C-1F02-7BA429BB7448}" dt="2023-12-11T14:24:22.250" v="8" actId="20577"/>
      <pc:docMkLst>
        <pc:docMk/>
      </pc:docMkLst>
      <pc:sldChg chg="modSp">
        <pc:chgData name="Matynia, Jan" userId="S::jan.matynia@accenture.com::1875d1cb-629a-43c7-a46a-bf28ab4e7428" providerId="AD" clId="Web-{A1726CEC-4D9F-987C-1F02-7BA429BB7448}" dt="2023-12-11T14:24:22.250" v="8" actId="20577"/>
        <pc:sldMkLst>
          <pc:docMk/>
          <pc:sldMk cId="3377655524" sldId="1327"/>
        </pc:sldMkLst>
        <pc:spChg chg="mod">
          <ac:chgData name="Matynia, Jan" userId="S::jan.matynia@accenture.com::1875d1cb-629a-43c7-a46a-bf28ab4e7428" providerId="AD" clId="Web-{A1726CEC-4D9F-987C-1F02-7BA429BB7448}" dt="2023-12-11T14:24:22.250" v="8" actId="20577"/>
          <ac:spMkLst>
            <pc:docMk/>
            <pc:sldMk cId="3377655524" sldId="1327"/>
            <ac:spMk id="10" creationId="{68D47195-2257-27FD-9554-F23924FA4345}"/>
          </ac:spMkLst>
        </pc:spChg>
      </pc:sldChg>
    </pc:docChg>
  </pc:docChgLst>
  <pc:docChgLst>
    <pc:chgData name="Górajek, Julian" userId="S::julian.gorajek@accenture.com::8625b1db-1d6b-4bb8-98e7-ebc5c65ba918" providerId="AD" clId="Web-{32E32720-6D15-4710-8727-918ACEBD265B}"/>
    <pc:docChg chg="modSld">
      <pc:chgData name="Górajek, Julian" userId="S::julian.gorajek@accenture.com::8625b1db-1d6b-4bb8-98e7-ebc5c65ba918" providerId="AD" clId="Web-{32E32720-6D15-4710-8727-918ACEBD265B}" dt="2024-02-02T10:28:21.992" v="10" actId="20577"/>
      <pc:docMkLst>
        <pc:docMk/>
      </pc:docMkLst>
      <pc:sldChg chg="modSp">
        <pc:chgData name="Górajek, Julian" userId="S::julian.gorajek@accenture.com::8625b1db-1d6b-4bb8-98e7-ebc5c65ba918" providerId="AD" clId="Web-{32E32720-6D15-4710-8727-918ACEBD265B}" dt="2024-02-02T10:28:21.992" v="10" actId="20577"/>
        <pc:sldMkLst>
          <pc:docMk/>
          <pc:sldMk cId="3349555335" sldId="1362"/>
        </pc:sldMkLst>
        <pc:spChg chg="mod">
          <ac:chgData name="Górajek, Julian" userId="S::julian.gorajek@accenture.com::8625b1db-1d6b-4bb8-98e7-ebc5c65ba918" providerId="AD" clId="Web-{32E32720-6D15-4710-8727-918ACEBD265B}" dt="2024-02-02T10:28:21.992" v="10" actId="20577"/>
          <ac:spMkLst>
            <pc:docMk/>
            <pc:sldMk cId="3349555335" sldId="1362"/>
            <ac:spMk id="8" creationId="{21B27FAC-F4D8-14FA-E816-E0F5A6718CC9}"/>
          </ac:spMkLst>
        </pc:spChg>
      </pc:sldChg>
    </pc:docChg>
  </pc:docChgLst>
  <pc:docChgLst>
    <pc:chgData name="Blaszczynski, Jerzy" userId="8daa8200-90e7-4ead-888a-ed0551003d6f" providerId="ADAL" clId="{FD7E4766-36E3-4AA8-8AC7-A8FA46F1A208}"/>
    <pc:docChg chg="custSel modSld">
      <pc:chgData name="Blaszczynski, Jerzy" userId="8daa8200-90e7-4ead-888a-ed0551003d6f" providerId="ADAL" clId="{FD7E4766-36E3-4AA8-8AC7-A8FA46F1A208}" dt="2024-03-20T10:24:03.919" v="113" actId="27636"/>
      <pc:docMkLst>
        <pc:docMk/>
      </pc:docMkLst>
      <pc:sldChg chg="modSp mod">
        <pc:chgData name="Blaszczynski, Jerzy" userId="8daa8200-90e7-4ead-888a-ed0551003d6f" providerId="ADAL" clId="{FD7E4766-36E3-4AA8-8AC7-A8FA46F1A208}" dt="2024-03-05T13:05:54.014" v="108" actId="20577"/>
        <pc:sldMkLst>
          <pc:docMk/>
          <pc:sldMk cId="2962901384" sldId="1223"/>
        </pc:sldMkLst>
        <pc:spChg chg="mod">
          <ac:chgData name="Blaszczynski, Jerzy" userId="8daa8200-90e7-4ead-888a-ed0551003d6f" providerId="ADAL" clId="{FD7E4766-36E3-4AA8-8AC7-A8FA46F1A208}" dt="2024-03-05T13:05:54.014" v="108" actId="20577"/>
          <ac:spMkLst>
            <pc:docMk/>
            <pc:sldMk cId="2962901384" sldId="1223"/>
            <ac:spMk id="8" creationId="{21B27FAC-F4D8-14FA-E816-E0F5A6718CC9}"/>
          </ac:spMkLst>
        </pc:spChg>
        <pc:spChg chg="mod">
          <ac:chgData name="Blaszczynski, Jerzy" userId="8daa8200-90e7-4ead-888a-ed0551003d6f" providerId="ADAL" clId="{FD7E4766-36E3-4AA8-8AC7-A8FA46F1A208}" dt="2024-02-06T08:40:37.387" v="43" actId="20577"/>
          <ac:spMkLst>
            <pc:docMk/>
            <pc:sldMk cId="2962901384" sldId="1223"/>
            <ac:spMk id="10" creationId="{6544F642-4FD7-D49B-CDFE-2E39F605B09B}"/>
          </ac:spMkLst>
        </pc:spChg>
      </pc:sldChg>
      <pc:sldChg chg="modSp mod">
        <pc:chgData name="Blaszczynski, Jerzy" userId="8daa8200-90e7-4ead-888a-ed0551003d6f" providerId="ADAL" clId="{FD7E4766-36E3-4AA8-8AC7-A8FA46F1A208}" dt="2024-03-20T10:24:03.805" v="110" actId="27636"/>
        <pc:sldMkLst>
          <pc:docMk/>
          <pc:sldMk cId="3706624102" sldId="1322"/>
        </pc:sldMkLst>
        <pc:spChg chg="mod">
          <ac:chgData name="Blaszczynski, Jerzy" userId="8daa8200-90e7-4ead-888a-ed0551003d6f" providerId="ADAL" clId="{FD7E4766-36E3-4AA8-8AC7-A8FA46F1A208}" dt="2024-03-20T10:24:03.805" v="110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Blaszczynski, Jerzy" userId="8daa8200-90e7-4ead-888a-ed0551003d6f" providerId="ADAL" clId="{FD7E4766-36E3-4AA8-8AC7-A8FA46F1A208}" dt="2024-03-20T10:24:03.919" v="113" actId="27636"/>
        <pc:sldMkLst>
          <pc:docMk/>
          <pc:sldMk cId="3967085744" sldId="1347"/>
        </pc:sldMkLst>
        <pc:spChg chg="mod">
          <ac:chgData name="Blaszczynski, Jerzy" userId="8daa8200-90e7-4ead-888a-ed0551003d6f" providerId="ADAL" clId="{FD7E4766-36E3-4AA8-8AC7-A8FA46F1A208}" dt="2024-03-20T10:24:03.900" v="112" actId="27636"/>
          <ac:spMkLst>
            <pc:docMk/>
            <pc:sldMk cId="3967085744" sldId="1347"/>
            <ac:spMk id="2" creationId="{907A6792-CD02-599B-4146-7772C73B01E3}"/>
          </ac:spMkLst>
        </pc:spChg>
        <pc:spChg chg="mod">
          <ac:chgData name="Blaszczynski, Jerzy" userId="8daa8200-90e7-4ead-888a-ed0551003d6f" providerId="ADAL" clId="{FD7E4766-36E3-4AA8-8AC7-A8FA46F1A208}" dt="2024-03-20T10:24:03.919" v="113" actId="27636"/>
          <ac:spMkLst>
            <pc:docMk/>
            <pc:sldMk cId="3967085744" sldId="1347"/>
            <ac:spMk id="7" creationId="{83D1AB77-327B-D8C5-CF7B-688095FA023A}"/>
          </ac:spMkLst>
        </pc:spChg>
      </pc:sldChg>
      <pc:sldChg chg="modSp mod">
        <pc:chgData name="Blaszczynski, Jerzy" userId="8daa8200-90e7-4ead-888a-ed0551003d6f" providerId="ADAL" clId="{FD7E4766-36E3-4AA8-8AC7-A8FA46F1A208}" dt="2024-03-20T10:24:03.884" v="111" actId="27636"/>
        <pc:sldMkLst>
          <pc:docMk/>
          <pc:sldMk cId="1949626962" sldId="1349"/>
        </pc:sldMkLst>
        <pc:spChg chg="mod">
          <ac:chgData name="Blaszczynski, Jerzy" userId="8daa8200-90e7-4ead-888a-ed0551003d6f" providerId="ADAL" clId="{FD7E4766-36E3-4AA8-8AC7-A8FA46F1A208}" dt="2024-03-20T10:24:03.884" v="111" actId="27636"/>
          <ac:spMkLst>
            <pc:docMk/>
            <pc:sldMk cId="1949626962" sldId="1349"/>
            <ac:spMk id="2" creationId="{907A6792-CD02-599B-4146-7772C73B01E3}"/>
          </ac:spMkLst>
        </pc:spChg>
      </pc:sldChg>
      <pc:sldChg chg="modSp mod">
        <pc:chgData name="Blaszczynski, Jerzy" userId="8daa8200-90e7-4ead-888a-ed0551003d6f" providerId="ADAL" clId="{FD7E4766-36E3-4AA8-8AC7-A8FA46F1A208}" dt="2024-03-20T10:24:03.758" v="109" actId="27636"/>
        <pc:sldMkLst>
          <pc:docMk/>
          <pc:sldMk cId="628719752" sldId="1353"/>
        </pc:sldMkLst>
        <pc:spChg chg="mod">
          <ac:chgData name="Blaszczynski, Jerzy" userId="8daa8200-90e7-4ead-888a-ed0551003d6f" providerId="ADAL" clId="{FD7E4766-36E3-4AA8-8AC7-A8FA46F1A208}" dt="2024-03-20T10:24:03.758" v="109" actId="27636"/>
          <ac:spMkLst>
            <pc:docMk/>
            <pc:sldMk cId="628719752" sldId="1353"/>
            <ac:spMk id="7" creationId="{83D1AB77-327B-D8C5-CF7B-688095FA023A}"/>
          </ac:spMkLst>
        </pc:spChg>
      </pc:sldChg>
    </pc:docChg>
  </pc:docChgLst>
  <pc:docChgLst>
    <pc:chgData name="Zuk, Barbara" userId="S::barbara.zuk@accenture.com::74397353-13d5-4bdc-86f2-f5be8bd13842" providerId="AD" clId="Web-{4C4586E2-14DC-5C27-7C7B-50D561C68BEB}"/>
    <pc:docChg chg="sldOrd">
      <pc:chgData name="Zuk, Barbara" userId="S::barbara.zuk@accenture.com::74397353-13d5-4bdc-86f2-f5be8bd13842" providerId="AD" clId="Web-{4C4586E2-14DC-5C27-7C7B-50D561C68BEB}" dt="2024-03-29T13:23:07.293" v="0"/>
      <pc:docMkLst>
        <pc:docMk/>
      </pc:docMkLst>
      <pc:sldChg chg="ord">
        <pc:chgData name="Zuk, Barbara" userId="S::barbara.zuk@accenture.com::74397353-13d5-4bdc-86f2-f5be8bd13842" providerId="AD" clId="Web-{4C4586E2-14DC-5C27-7C7B-50D561C68BEB}" dt="2024-03-29T13:23:07.293" v="0"/>
        <pc:sldMkLst>
          <pc:docMk/>
          <pc:sldMk cId="1196115407" sldId="1306"/>
        </pc:sldMkLst>
      </pc:sldChg>
    </pc:docChg>
  </pc:docChgLst>
  <pc:docChgLst>
    <pc:chgData name="Ziajko, Kamil" userId="S::kamil.ziajko@accenture.com::6176b88f-0830-4762-9e63-1332ef83e4e7" providerId="AD" clId="Web-{98F26784-6167-537E-2DAA-D57421707623}"/>
    <pc:docChg chg="modSld">
      <pc:chgData name="Ziajko, Kamil" userId="S::kamil.ziajko@accenture.com::6176b88f-0830-4762-9e63-1332ef83e4e7" providerId="AD" clId="Web-{98F26784-6167-537E-2DAA-D57421707623}" dt="2024-03-04T15:32:16.543" v="6" actId="20577"/>
      <pc:docMkLst>
        <pc:docMk/>
      </pc:docMkLst>
      <pc:sldChg chg="modSp">
        <pc:chgData name="Ziajko, Kamil" userId="S::kamil.ziajko@accenture.com::6176b88f-0830-4762-9e63-1332ef83e4e7" providerId="AD" clId="Web-{98F26784-6167-537E-2DAA-D57421707623}" dt="2024-03-04T15:32:16.543" v="6" actId="20577"/>
        <pc:sldMkLst>
          <pc:docMk/>
          <pc:sldMk cId="166479993" sldId="1263"/>
        </pc:sldMkLst>
        <pc:spChg chg="mod">
          <ac:chgData name="Ziajko, Kamil" userId="S::kamil.ziajko@accenture.com::6176b88f-0830-4762-9e63-1332ef83e4e7" providerId="AD" clId="Web-{98F26784-6167-537E-2DAA-D57421707623}" dt="2024-03-04T15:28:43.035" v="4" actId="20577"/>
          <ac:spMkLst>
            <pc:docMk/>
            <pc:sldMk cId="166479993" sldId="1263"/>
            <ac:spMk id="7" creationId="{96CAE378-94B4-0269-C4D1-EBD2C607BCC3}"/>
          </ac:spMkLst>
        </pc:spChg>
        <pc:spChg chg="mod">
          <ac:chgData name="Ziajko, Kamil" userId="S::kamil.ziajko@accenture.com::6176b88f-0830-4762-9e63-1332ef83e4e7" providerId="AD" clId="Web-{98F26784-6167-537E-2DAA-D57421707623}" dt="2024-03-04T15:32:16.543" v="6" actId="20577"/>
          <ac:spMkLst>
            <pc:docMk/>
            <pc:sldMk cId="166479993" sldId="1263"/>
            <ac:spMk id="9" creationId="{698ADF03-8FE6-EE63-15FA-BCDD7A6C1908}"/>
          </ac:spMkLst>
        </pc:spChg>
      </pc:sldChg>
    </pc:docChg>
  </pc:docChgLst>
  <pc:docChgLst>
    <pc:chgData name="Plis, Rafal" userId="S::rafal.plis@accenture.com::f719748d-d0fa-4251-b5f3-c0abc14e35af" providerId="AD" clId="Web-{007A7762-C0D7-4D79-B272-450CFA147FA0}"/>
    <pc:docChg chg="modSld">
      <pc:chgData name="Plis, Rafal" userId="S::rafal.plis@accenture.com::f719748d-d0fa-4251-b5f3-c0abc14e35af" providerId="AD" clId="Web-{007A7762-C0D7-4D79-B272-450CFA147FA0}" dt="2023-12-13T14:38:27.707" v="45" actId="20577"/>
      <pc:docMkLst>
        <pc:docMk/>
      </pc:docMkLst>
      <pc:sldChg chg="modSp">
        <pc:chgData name="Plis, Rafal" userId="S::rafal.plis@accenture.com::f719748d-d0fa-4251-b5f3-c0abc14e35af" providerId="AD" clId="Web-{007A7762-C0D7-4D79-B272-450CFA147FA0}" dt="2023-12-13T14:38:27.707" v="45" actId="20577"/>
        <pc:sldMkLst>
          <pc:docMk/>
          <pc:sldMk cId="1731765507" sldId="1343"/>
        </pc:sldMkLst>
        <pc:spChg chg="mod">
          <ac:chgData name="Plis, Rafal" userId="S::rafal.plis@accenture.com::f719748d-d0fa-4251-b5f3-c0abc14e35af" providerId="AD" clId="Web-{007A7762-C0D7-4D79-B272-450CFA147FA0}" dt="2023-12-13T14:38:27.707" v="45" actId="20577"/>
          <ac:spMkLst>
            <pc:docMk/>
            <pc:sldMk cId="1731765507" sldId="1343"/>
            <ac:spMk id="8" creationId="{A9D0EDE1-319C-F7C6-A99B-9FCF1CAD96E2}"/>
          </ac:spMkLst>
        </pc:spChg>
      </pc:sldChg>
    </pc:docChg>
  </pc:docChgLst>
  <pc:docChgLst>
    <pc:chgData name="Smaga, Tomasz" userId="12fc1883-96d9-40ae-b28b-1114c7e6d083" providerId="ADAL" clId="{8E0C6CE0-E926-4191-AA86-F43CB5B0A6F1}"/>
    <pc:docChg chg="undo redo custSel addSld modSld sldOrd modSection">
      <pc:chgData name="Smaga, Tomasz" userId="12fc1883-96d9-40ae-b28b-1114c7e6d083" providerId="ADAL" clId="{8E0C6CE0-E926-4191-AA86-F43CB5B0A6F1}" dt="2024-04-04T11:56:21.468" v="224" actId="20577"/>
      <pc:docMkLst>
        <pc:docMk/>
      </pc:docMkLst>
      <pc:sldChg chg="ord">
        <pc:chgData name="Smaga, Tomasz" userId="12fc1883-96d9-40ae-b28b-1114c7e6d083" providerId="ADAL" clId="{8E0C6CE0-E926-4191-AA86-F43CB5B0A6F1}" dt="2024-04-04T10:21:52.084" v="1"/>
        <pc:sldMkLst>
          <pc:docMk/>
          <pc:sldMk cId="2667322831" sldId="1371"/>
        </pc:sldMkLst>
      </pc:sldChg>
      <pc:sldChg chg="addSp delSp modSp new mod">
        <pc:chgData name="Smaga, Tomasz" userId="12fc1883-96d9-40ae-b28b-1114c7e6d083" providerId="ADAL" clId="{8E0C6CE0-E926-4191-AA86-F43CB5B0A6F1}" dt="2024-04-04T11:56:21.468" v="224" actId="20577"/>
        <pc:sldMkLst>
          <pc:docMk/>
          <pc:sldMk cId="3139034029" sldId="1375"/>
        </pc:sldMkLst>
        <pc:spChg chg="mod">
          <ac:chgData name="Smaga, Tomasz" userId="12fc1883-96d9-40ae-b28b-1114c7e6d083" providerId="ADAL" clId="{8E0C6CE0-E926-4191-AA86-F43CB5B0A6F1}" dt="2024-04-04T11:49:16.659" v="65" actId="20577"/>
          <ac:spMkLst>
            <pc:docMk/>
            <pc:sldMk cId="3139034029" sldId="1375"/>
            <ac:spMk id="2" creationId="{BF1C52C2-80BA-AC6E-A541-4E87D349A624}"/>
          </ac:spMkLst>
        </pc:spChg>
        <pc:spChg chg="mod">
          <ac:chgData name="Smaga, Tomasz" userId="12fc1883-96d9-40ae-b28b-1114c7e6d083" providerId="ADAL" clId="{8E0C6CE0-E926-4191-AA86-F43CB5B0A6F1}" dt="2024-04-04T11:50:32.449" v="113" actId="20577"/>
          <ac:spMkLst>
            <pc:docMk/>
            <pc:sldMk cId="3139034029" sldId="1375"/>
            <ac:spMk id="3" creationId="{B44C615A-94FF-E592-8AEE-9728AB9EB201}"/>
          </ac:spMkLst>
        </pc:spChg>
        <pc:spChg chg="mod">
          <ac:chgData name="Smaga, Tomasz" userId="12fc1883-96d9-40ae-b28b-1114c7e6d083" providerId="ADAL" clId="{8E0C6CE0-E926-4191-AA86-F43CB5B0A6F1}" dt="2024-04-04T10:23:41.074" v="26" actId="20577"/>
          <ac:spMkLst>
            <pc:docMk/>
            <pc:sldMk cId="3139034029" sldId="1375"/>
            <ac:spMk id="4" creationId="{E631B484-69BC-08B8-BCAD-56EC7297BD8D}"/>
          </ac:spMkLst>
        </pc:spChg>
        <pc:spChg chg="mod">
          <ac:chgData name="Smaga, Tomasz" userId="12fc1883-96d9-40ae-b28b-1114c7e6d083" providerId="ADAL" clId="{8E0C6CE0-E926-4191-AA86-F43CB5B0A6F1}" dt="2024-04-04T10:23:55.334" v="52" actId="20577"/>
          <ac:spMkLst>
            <pc:docMk/>
            <pc:sldMk cId="3139034029" sldId="1375"/>
            <ac:spMk id="5" creationId="{9B61EFBD-496D-080E-129A-2B6FA7F2E4FC}"/>
          </ac:spMkLst>
        </pc:spChg>
        <pc:spChg chg="del">
          <ac:chgData name="Smaga, Tomasz" userId="12fc1883-96d9-40ae-b28b-1114c7e6d083" providerId="ADAL" clId="{8E0C6CE0-E926-4191-AA86-F43CB5B0A6F1}" dt="2024-04-04T10:27:49.236" v="53" actId="22"/>
          <ac:spMkLst>
            <pc:docMk/>
            <pc:sldMk cId="3139034029" sldId="1375"/>
            <ac:spMk id="6" creationId="{54E9D489-8D93-8EA3-4AB4-76C70C8C6E67}"/>
          </ac:spMkLst>
        </pc:spChg>
        <pc:spChg chg="mod">
          <ac:chgData name="Smaga, Tomasz" userId="12fc1883-96d9-40ae-b28b-1114c7e6d083" providerId="ADAL" clId="{8E0C6CE0-E926-4191-AA86-F43CB5B0A6F1}" dt="2024-04-04T11:55:55.941" v="218" actId="255"/>
          <ac:spMkLst>
            <pc:docMk/>
            <pc:sldMk cId="3139034029" sldId="1375"/>
            <ac:spMk id="7" creationId="{E8537F28-9B07-9DAA-CAF3-5BFB7BD5C12B}"/>
          </ac:spMkLst>
        </pc:spChg>
        <pc:spChg chg="mod">
          <ac:chgData name="Smaga, Tomasz" userId="12fc1883-96d9-40ae-b28b-1114c7e6d083" providerId="ADAL" clId="{8E0C6CE0-E926-4191-AA86-F43CB5B0A6F1}" dt="2024-04-04T11:56:21.468" v="224" actId="20577"/>
          <ac:spMkLst>
            <pc:docMk/>
            <pc:sldMk cId="3139034029" sldId="1375"/>
            <ac:spMk id="8" creationId="{99668DF9-C2B0-E144-E99A-6561CE21D9AE}"/>
          </ac:spMkLst>
        </pc:spChg>
        <pc:spChg chg="mod">
          <ac:chgData name="Smaga, Tomasz" userId="12fc1883-96d9-40ae-b28b-1114c7e6d083" providerId="ADAL" clId="{8E0C6CE0-E926-4191-AA86-F43CB5B0A6F1}" dt="2024-04-04T11:50:44.969" v="127" actId="20577"/>
          <ac:spMkLst>
            <pc:docMk/>
            <pc:sldMk cId="3139034029" sldId="1375"/>
            <ac:spMk id="9" creationId="{66EA75D0-A4C8-85A1-6AD0-03490BBDB97E}"/>
          </ac:spMkLst>
        </pc:spChg>
        <pc:spChg chg="mod">
          <ac:chgData name="Smaga, Tomasz" userId="12fc1883-96d9-40ae-b28b-1114c7e6d083" providerId="ADAL" clId="{8E0C6CE0-E926-4191-AA86-F43CB5B0A6F1}" dt="2024-04-04T11:55:32.114" v="215" actId="20577"/>
          <ac:spMkLst>
            <pc:docMk/>
            <pc:sldMk cId="3139034029" sldId="1375"/>
            <ac:spMk id="10" creationId="{B87385B4-4909-CDB7-28A1-E178B0DBE802}"/>
          </ac:spMkLst>
        </pc:spChg>
        <pc:picChg chg="add mod ord">
          <ac:chgData name="Smaga, Tomasz" userId="12fc1883-96d9-40ae-b28b-1114c7e6d083" providerId="ADAL" clId="{8E0C6CE0-E926-4191-AA86-F43CB5B0A6F1}" dt="2024-04-04T10:27:49.236" v="53" actId="22"/>
          <ac:picMkLst>
            <pc:docMk/>
            <pc:sldMk cId="3139034029" sldId="1375"/>
            <ac:picMk id="12" creationId="{10FE7DB4-1E88-5E7F-A564-2E372940CEE5}"/>
          </ac:picMkLst>
        </pc:picChg>
      </pc:sldChg>
    </pc:docChg>
  </pc:docChgLst>
  <pc:docChgLst>
    <pc:chgData name="Parol, Dariusz" userId="cc06662d-a6b4-4211-9222-1a2bd36ad8d6" providerId="ADAL" clId="{1675EC82-BCE3-452A-86D4-8B2E27D1C90C}"/>
    <pc:docChg chg="modSld">
      <pc:chgData name="Parol, Dariusz" userId="cc06662d-a6b4-4211-9222-1a2bd36ad8d6" providerId="ADAL" clId="{1675EC82-BCE3-452A-86D4-8B2E27D1C90C}" dt="2024-01-08T08:53:18.880" v="0" actId="20577"/>
      <pc:docMkLst>
        <pc:docMk/>
      </pc:docMkLst>
      <pc:sldChg chg="modSp mod">
        <pc:chgData name="Parol, Dariusz" userId="cc06662d-a6b4-4211-9222-1a2bd36ad8d6" providerId="ADAL" clId="{1675EC82-BCE3-452A-86D4-8B2E27D1C90C}" dt="2024-01-08T08:53:18.880" v="0" actId="20577"/>
        <pc:sldMkLst>
          <pc:docMk/>
          <pc:sldMk cId="1949626962" sldId="1349"/>
        </pc:sldMkLst>
        <pc:spChg chg="mod">
          <ac:chgData name="Parol, Dariusz" userId="cc06662d-a6b4-4211-9222-1a2bd36ad8d6" providerId="ADAL" clId="{1675EC82-BCE3-452A-86D4-8B2E27D1C90C}" dt="2024-01-08T08:53:18.880" v="0" actId="20577"/>
          <ac:spMkLst>
            <pc:docMk/>
            <pc:sldMk cId="1949626962" sldId="1349"/>
            <ac:spMk id="10" creationId="{2ADC3B6D-1669-0947-4FE2-FA2ED3B54A80}"/>
          </ac:spMkLst>
        </pc:spChg>
      </pc:sldChg>
    </pc:docChg>
  </pc:docChgLst>
  <pc:docChgLst>
    <pc:chgData name="Hachim, Adel" userId="35b68745-81ff-4c11-956b-d3a71da06ada" providerId="ADAL" clId="{4724C665-2931-4BE1-96E8-0BF96B670DCE}"/>
    <pc:docChg chg="undo custSel addSld delSld modSld addSection delSection modSection">
      <pc:chgData name="Hachim, Adel" userId="35b68745-81ff-4c11-956b-d3a71da06ada" providerId="ADAL" clId="{4724C665-2931-4BE1-96E8-0BF96B670DCE}" dt="2023-10-30T12:38:38.549" v="1581" actId="20577"/>
      <pc:docMkLst>
        <pc:docMk/>
      </pc:docMkLst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651327801" sldId="121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802588869" sldId="1215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953439156" sldId="1218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838923465" sldId="121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4179683078" sldId="122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962901384" sldId="122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10554779" sldId="1225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834866407" sldId="1226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957726531" sldId="122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976876968" sldId="123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73773881" sldId="123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729752082" sldId="123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323270304" sldId="123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939582027" sldId="1235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670694553" sldId="1236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400061116" sldId="1237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586587400" sldId="1238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415718272" sldId="123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865346402" sldId="124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755250638" sldId="124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718533031" sldId="124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242748109" sldId="1245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732506282" sldId="1246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241472327" sldId="1247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337435278" sldId="1248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389653122" sldId="124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485924706" sldId="1250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6861706" sldId="125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733477518" sldId="125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4146181164" sldId="125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582210976" sldId="125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423287306" sldId="1257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098027197" sldId="125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020901150" sldId="1260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332470089" sldId="126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520058925" sldId="126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66479993" sldId="126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277565419" sldId="1266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527269364" sldId="1267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906544417" sldId="126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01552678" sldId="1270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679542535" sldId="127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787201358" sldId="127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727928917" sldId="127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849375877" sldId="1276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566295239" sldId="1277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615039975" sldId="1278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750667639" sldId="127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438456068" sldId="1280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929832845" sldId="128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396022359" sldId="128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731348096" sldId="128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679050188" sldId="128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4890678" sldId="1285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823878011" sldId="1287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543756436" sldId="128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240309574" sldId="129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025264660" sldId="129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842535074" sldId="129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632944940" sldId="129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752201324" sldId="1295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360168150" sldId="1296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507480854" sldId="1298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033637370" sldId="129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075896455" sldId="1300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996591743" sldId="130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539776704" sldId="130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349070315" sldId="130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735988767" sldId="130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799505985" sldId="1305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196115407" sldId="1306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272399356" sldId="130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36358208" sldId="1310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628365231" sldId="131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055942495" sldId="131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747811040" sldId="131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369299309" sldId="1315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824053554" sldId="1316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705596394" sldId="1317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274266512" sldId="1318"/>
        </pc:sldMkLst>
      </pc:sldChg>
      <pc:sldChg chg="add del">
        <pc:chgData name="Hachim, Adel" userId="35b68745-81ff-4c11-956b-d3a71da06ada" providerId="ADAL" clId="{4724C665-2931-4BE1-96E8-0BF96B670DCE}" dt="2023-10-30T11:20:03.536" v="177" actId="47"/>
        <pc:sldMkLst>
          <pc:docMk/>
          <pc:sldMk cId="2500725948" sldId="1320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689374704" sldId="132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706624102" sldId="132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683928403" sldId="132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697404448" sldId="1326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377655524" sldId="1327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300399888" sldId="1330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654585378" sldId="133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401991601" sldId="133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548016973" sldId="1334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804232919" sldId="1337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4056503120" sldId="1338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593098658" sldId="1340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11902595" sldId="134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731765507" sldId="1343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2661039463" sldId="1345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967085744" sldId="1347"/>
        </pc:sldMkLst>
      </pc:sldChg>
      <pc:sldChg chg="modSp add del mod">
        <pc:chgData name="Hachim, Adel" userId="35b68745-81ff-4c11-956b-d3a71da06ada" providerId="ADAL" clId="{4724C665-2931-4BE1-96E8-0BF96B670DCE}" dt="2023-10-30T12:38:38.549" v="1581" actId="20577"/>
        <pc:sldMkLst>
          <pc:docMk/>
          <pc:sldMk cId="3110582467" sldId="1348"/>
        </pc:sldMkLst>
        <pc:spChg chg="mod">
          <ac:chgData name="Hachim, Adel" userId="35b68745-81ff-4c11-956b-d3a71da06ada" providerId="ADAL" clId="{4724C665-2931-4BE1-96E8-0BF96B670DCE}" dt="2023-10-17T14:34:48.196" v="76" actId="20577"/>
          <ac:spMkLst>
            <pc:docMk/>
            <pc:sldMk cId="3110582467" sldId="1348"/>
            <ac:spMk id="8" creationId="{C46E40D8-7A6A-EA36-AF1C-20A407EF6545}"/>
          </ac:spMkLst>
        </pc:spChg>
        <pc:spChg chg="mod">
          <ac:chgData name="Hachim, Adel" userId="35b68745-81ff-4c11-956b-d3a71da06ada" providerId="ADAL" clId="{4724C665-2931-4BE1-96E8-0BF96B670DCE}" dt="2023-10-30T12:38:38.549" v="1581" actId="20577"/>
          <ac:spMkLst>
            <pc:docMk/>
            <pc:sldMk cId="3110582467" sldId="1348"/>
            <ac:spMk id="10" creationId="{7F4538DC-45FB-A8B8-9BDE-A8EA913481D9}"/>
          </ac:spMkLst>
        </pc:spChg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1180456054" sldId="1349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202719610" sldId="1351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3831383783" sldId="1352"/>
        </pc:sldMkLst>
      </pc:sldChg>
      <pc:sldChg chg="add del">
        <pc:chgData name="Hachim, Adel" userId="35b68745-81ff-4c11-956b-d3a71da06ada" providerId="ADAL" clId="{4724C665-2931-4BE1-96E8-0BF96B670DCE}" dt="2023-10-30T11:20:04.679" v="178" actId="47"/>
        <pc:sldMkLst>
          <pc:docMk/>
          <pc:sldMk cId="628719752" sldId="1353"/>
        </pc:sldMkLst>
      </pc:sldChg>
    </pc:docChg>
  </pc:docChgLst>
  <pc:docChgLst>
    <pc:chgData name="Matynia, Jan" userId="S::jan.matynia@accenture.com::1875d1cb-629a-43c7-a46a-bf28ab4e7428" providerId="AD" clId="Web-{A3164E34-9020-8FF5-A583-8B891890224E}"/>
    <pc:docChg chg="sldOrd">
      <pc:chgData name="Matynia, Jan" userId="S::jan.matynia@accenture.com::1875d1cb-629a-43c7-a46a-bf28ab4e7428" providerId="AD" clId="Web-{A3164E34-9020-8FF5-A583-8B891890224E}" dt="2023-12-11T08:26:02.154" v="0"/>
      <pc:docMkLst>
        <pc:docMk/>
      </pc:docMkLst>
      <pc:sldChg chg="ord">
        <pc:chgData name="Matynia, Jan" userId="S::jan.matynia@accenture.com::1875d1cb-629a-43c7-a46a-bf28ab4e7428" providerId="AD" clId="Web-{A3164E34-9020-8FF5-A583-8B891890224E}" dt="2023-12-11T08:26:02.154" v="0"/>
        <pc:sldMkLst>
          <pc:docMk/>
          <pc:sldMk cId="3750667639" sldId="1279"/>
        </pc:sldMkLst>
      </pc:sldChg>
    </pc:docChg>
  </pc:docChgLst>
  <pc:docChgLst>
    <pc:chgData name="Mikielewicz, Magdalena" userId="S::m.mikielewicz@accenture.com::35140045-cb91-483b-900a-2759bb1baba3" providerId="AD" clId="Web-{6F04C386-61F0-6AF1-D028-010FD462CBB8}"/>
    <pc:docChg chg="modSld sldOrd">
      <pc:chgData name="Mikielewicz, Magdalena" userId="S::m.mikielewicz@accenture.com::35140045-cb91-483b-900a-2759bb1baba3" providerId="AD" clId="Web-{6F04C386-61F0-6AF1-D028-010FD462CBB8}" dt="2024-03-19T07:47:09.386" v="2" actId="20577"/>
      <pc:docMkLst>
        <pc:docMk/>
      </pc:docMkLst>
      <pc:sldChg chg="ord">
        <pc:chgData name="Mikielewicz, Magdalena" userId="S::m.mikielewicz@accenture.com::35140045-cb91-483b-900a-2759bb1baba3" providerId="AD" clId="Web-{6F04C386-61F0-6AF1-D028-010FD462CBB8}" dt="2024-03-19T07:42:59.065" v="0"/>
        <pc:sldMkLst>
          <pc:docMk/>
          <pc:sldMk cId="507480854" sldId="1298"/>
        </pc:sldMkLst>
      </pc:sldChg>
      <pc:sldChg chg="modSp">
        <pc:chgData name="Mikielewicz, Magdalena" userId="S::m.mikielewicz@accenture.com::35140045-cb91-483b-900a-2759bb1baba3" providerId="AD" clId="Web-{6F04C386-61F0-6AF1-D028-010FD462CBB8}" dt="2024-03-19T07:47:09.386" v="2" actId="20577"/>
        <pc:sldMkLst>
          <pc:docMk/>
          <pc:sldMk cId="1635322474" sldId="1367"/>
        </pc:sldMkLst>
        <pc:spChg chg="mod">
          <ac:chgData name="Mikielewicz, Magdalena" userId="S::m.mikielewicz@accenture.com::35140045-cb91-483b-900a-2759bb1baba3" providerId="AD" clId="Web-{6F04C386-61F0-6AF1-D028-010FD462CBB8}" dt="2024-03-19T07:47:09.386" v="2" actId="20577"/>
          <ac:spMkLst>
            <pc:docMk/>
            <pc:sldMk cId="1635322474" sldId="1367"/>
            <ac:spMk id="9" creationId="{4374EEA8-79AE-66DD-2654-A91F24D6993A}"/>
          </ac:spMkLst>
        </pc:spChg>
      </pc:sldChg>
    </pc:docChg>
  </pc:docChgLst>
  <pc:docChgLst>
    <pc:chgData name="Mioduszewska, Joanna" userId="S::joanna.mioduszewska@accenture.com::81ce7990-eaad-4e2f-8cfd-9d7aecd250dd" providerId="AD" clId="Web-{08F6A66E-6128-4E09-BCB5-13C129CE3F1D}"/>
    <pc:docChg chg="modSld">
      <pc:chgData name="Mioduszewska, Joanna" userId="S::joanna.mioduszewska@accenture.com::81ce7990-eaad-4e2f-8cfd-9d7aecd250dd" providerId="AD" clId="Web-{08F6A66E-6128-4E09-BCB5-13C129CE3F1D}" dt="2024-03-14T14:28:34.711" v="0"/>
      <pc:docMkLst>
        <pc:docMk/>
      </pc:docMkLst>
      <pc:sldChg chg="mod modShow">
        <pc:chgData name="Mioduszewska, Joanna" userId="S::joanna.mioduszewska@accenture.com::81ce7990-eaad-4e2f-8cfd-9d7aecd250dd" providerId="AD" clId="Web-{08F6A66E-6128-4E09-BCB5-13C129CE3F1D}" dt="2024-03-14T14:28:34.711" v="0"/>
        <pc:sldMkLst>
          <pc:docMk/>
          <pc:sldMk cId="336358208" sldId="1310"/>
        </pc:sldMkLst>
      </pc:sldChg>
    </pc:docChg>
  </pc:docChgLst>
  <pc:docChgLst>
    <pc:chgData name="Surdacki, Lukasz" userId="S::lukasz.surdacki@accenture.com::ce123e74-4454-46c1-bb0c-668acd036729" providerId="AD" clId="Web-{D917F149-2EE4-F23C-93DB-D34D6CFD4349}"/>
    <pc:docChg chg="modSld">
      <pc:chgData name="Surdacki, Lukasz" userId="S::lukasz.surdacki@accenture.com::ce123e74-4454-46c1-bb0c-668acd036729" providerId="AD" clId="Web-{D917F149-2EE4-F23C-93DB-D34D6CFD4349}" dt="2023-12-06T13:57:54.651" v="1" actId="20577"/>
      <pc:docMkLst>
        <pc:docMk/>
      </pc:docMkLst>
      <pc:sldChg chg="modSp">
        <pc:chgData name="Surdacki, Lukasz" userId="S::lukasz.surdacki@accenture.com::ce123e74-4454-46c1-bb0c-668acd036729" providerId="AD" clId="Web-{D917F149-2EE4-F23C-93DB-D34D6CFD4349}" dt="2023-12-06T13:57:54.651" v="1" actId="20577"/>
        <pc:sldMkLst>
          <pc:docMk/>
          <pc:sldMk cId="539776704" sldId="1302"/>
        </pc:sldMkLst>
        <pc:spChg chg="mod">
          <ac:chgData name="Surdacki, Lukasz" userId="S::lukasz.surdacki@accenture.com::ce123e74-4454-46c1-bb0c-668acd036729" providerId="AD" clId="Web-{D917F149-2EE4-F23C-93DB-D34D6CFD4349}" dt="2023-12-06T13:57:54.651" v="1" actId="20577"/>
          <ac:spMkLst>
            <pc:docMk/>
            <pc:sldMk cId="539776704" sldId="1302"/>
            <ac:spMk id="10" creationId="{68D47195-2257-27FD-9554-F23924FA4345}"/>
          </ac:spMkLst>
        </pc:spChg>
      </pc:sldChg>
    </pc:docChg>
  </pc:docChgLst>
  <pc:docChgLst>
    <pc:chgData name="Górski, Adam" userId="S::adam.gorski@accenture.com::ef48f5a5-9a98-4e41-9c63-9fdf5cc81b73" providerId="AD" clId="Web-{1B81DE98-DB51-DBB3-BF57-5AEA0F080F8B}"/>
    <pc:docChg chg="modSld">
      <pc:chgData name="Górski, Adam" userId="S::adam.gorski@accenture.com::ef48f5a5-9a98-4e41-9c63-9fdf5cc81b73" providerId="AD" clId="Web-{1B81DE98-DB51-DBB3-BF57-5AEA0F080F8B}" dt="2024-02-01T15:49:44.459" v="367" actId="14100"/>
      <pc:docMkLst>
        <pc:docMk/>
      </pc:docMkLst>
      <pc:sldChg chg="modSp">
        <pc:chgData name="Górski, Adam" userId="S::adam.gorski@accenture.com::ef48f5a5-9a98-4e41-9c63-9fdf5cc81b73" providerId="AD" clId="Web-{1B81DE98-DB51-DBB3-BF57-5AEA0F080F8B}" dt="2024-02-01T15:49:44.459" v="367" actId="14100"/>
        <pc:sldMkLst>
          <pc:docMk/>
          <pc:sldMk cId="967545864" sldId="1360"/>
        </pc:sldMkLst>
        <pc:spChg chg="mod">
          <ac:chgData name="Górski, Adam" userId="S::adam.gorski@accenture.com::ef48f5a5-9a98-4e41-9c63-9fdf5cc81b73" providerId="AD" clId="Web-{1B81DE98-DB51-DBB3-BF57-5AEA0F080F8B}" dt="2024-02-01T15:49:44.459" v="367" actId="14100"/>
          <ac:spMkLst>
            <pc:docMk/>
            <pc:sldMk cId="967545864" sldId="1360"/>
            <ac:spMk id="2" creationId="{D1BDAE81-5210-487E-2053-A550675F318D}"/>
          </ac:spMkLst>
        </pc:spChg>
        <pc:spChg chg="mod">
          <ac:chgData name="Górski, Adam" userId="S::adam.gorski@accenture.com::ef48f5a5-9a98-4e41-9c63-9fdf5cc81b73" providerId="AD" clId="Web-{1B81DE98-DB51-DBB3-BF57-5AEA0F080F8B}" dt="2024-02-01T15:23:11.061" v="4" actId="20577"/>
          <ac:spMkLst>
            <pc:docMk/>
            <pc:sldMk cId="967545864" sldId="1360"/>
            <ac:spMk id="3" creationId="{F4C8AD0A-C319-8AE0-8884-15C52706DAC1}"/>
          </ac:spMkLst>
        </pc:spChg>
        <pc:spChg chg="mod">
          <ac:chgData name="Górski, Adam" userId="S::adam.gorski@accenture.com::ef48f5a5-9a98-4e41-9c63-9fdf5cc81b73" providerId="AD" clId="Web-{1B81DE98-DB51-DBB3-BF57-5AEA0F080F8B}" dt="2024-02-01T15:48:33.644" v="318" actId="20577"/>
          <ac:spMkLst>
            <pc:docMk/>
            <pc:sldMk cId="967545864" sldId="1360"/>
            <ac:spMk id="8" creationId="{A7CFB635-B6D6-5A76-DE47-21F059720E53}"/>
          </ac:spMkLst>
        </pc:spChg>
        <pc:spChg chg="mod">
          <ac:chgData name="Górski, Adam" userId="S::adam.gorski@accenture.com::ef48f5a5-9a98-4e41-9c63-9fdf5cc81b73" providerId="AD" clId="Web-{1B81DE98-DB51-DBB3-BF57-5AEA0F080F8B}" dt="2024-02-01T15:44:16.823" v="269" actId="20577"/>
          <ac:spMkLst>
            <pc:docMk/>
            <pc:sldMk cId="967545864" sldId="1360"/>
            <ac:spMk id="10" creationId="{F0157573-32CF-0171-A0CC-E3FC0F34ABF5}"/>
          </ac:spMkLst>
        </pc:spChg>
      </pc:sldChg>
    </pc:docChg>
  </pc:docChgLst>
  <pc:docChgLst>
    <pc:chgData name="Michniewicz, Jurek" userId="853766dd-3d50-440a-af51-df06b62bb102" providerId="ADAL" clId="{F8EEEC72-1626-471F-A743-447E02B67811}"/>
    <pc:docChg chg="undo custSel modSld">
      <pc:chgData name="Michniewicz, Jurek" userId="853766dd-3d50-440a-af51-df06b62bb102" providerId="ADAL" clId="{F8EEEC72-1626-471F-A743-447E02B67811}" dt="2024-01-18T09:31:00.730" v="34" actId="20577"/>
      <pc:docMkLst>
        <pc:docMk/>
      </pc:docMkLst>
      <pc:sldChg chg="modSp mod">
        <pc:chgData name="Michniewicz, Jurek" userId="853766dd-3d50-440a-af51-df06b62bb102" providerId="ADAL" clId="{F8EEEC72-1626-471F-A743-447E02B67811}" dt="2024-01-18T09:31:00.730" v="34" actId="20577"/>
        <pc:sldMkLst>
          <pc:docMk/>
          <pc:sldMk cId="2401991601" sldId="1332"/>
        </pc:sldMkLst>
        <pc:spChg chg="mod">
          <ac:chgData name="Michniewicz, Jurek" userId="853766dd-3d50-440a-af51-df06b62bb102" providerId="ADAL" clId="{F8EEEC72-1626-471F-A743-447E02B67811}" dt="2024-01-18T09:31:00.730" v="34" actId="20577"/>
          <ac:spMkLst>
            <pc:docMk/>
            <pc:sldMk cId="2401991601" sldId="1332"/>
            <ac:spMk id="10" creationId="{68D47195-2257-27FD-9554-F23924FA4345}"/>
          </ac:spMkLst>
        </pc:spChg>
      </pc:sldChg>
    </pc:docChg>
  </pc:docChgLst>
  <pc:docChgLst>
    <pc:chgData name="Walo, Waldemar" userId="e8298971-bfde-4c68-9aeb-c92007efa38f" providerId="ADAL" clId="{24F3C7F5-0E4D-4BDA-A4AC-C95B4802285A}"/>
    <pc:docChg chg="undo custSel addSld modSld modSection">
      <pc:chgData name="Walo, Waldemar" userId="e8298971-bfde-4c68-9aeb-c92007efa38f" providerId="ADAL" clId="{24F3C7F5-0E4D-4BDA-A4AC-C95B4802285A}" dt="2024-02-01T09:31:39.077" v="2435"/>
      <pc:docMkLst>
        <pc:docMk/>
      </pc:docMkLst>
      <pc:sldChg chg="modSp mod">
        <pc:chgData name="Walo, Waldemar" userId="e8298971-bfde-4c68-9aeb-c92007efa38f" providerId="ADAL" clId="{24F3C7F5-0E4D-4BDA-A4AC-C95B4802285A}" dt="2024-01-15T11:36:58.438" v="1897" actId="27636"/>
        <pc:sldMkLst>
          <pc:docMk/>
          <pc:sldMk cId="1733477518" sldId="1252"/>
        </pc:sldMkLst>
        <pc:spChg chg="mod">
          <ac:chgData name="Walo, Waldemar" userId="e8298971-bfde-4c68-9aeb-c92007efa38f" providerId="ADAL" clId="{24F3C7F5-0E4D-4BDA-A4AC-C95B4802285A}" dt="2024-01-15T11:36:58.438" v="1897" actId="27636"/>
          <ac:spMkLst>
            <pc:docMk/>
            <pc:sldMk cId="1733477518" sldId="1252"/>
            <ac:spMk id="10" creationId="{68D47195-2257-27FD-9554-F23924FA4345}"/>
          </ac:spMkLst>
        </pc:spChg>
      </pc:sldChg>
      <pc:sldChg chg="modSp mod">
        <pc:chgData name="Walo, Waldemar" userId="e8298971-bfde-4c68-9aeb-c92007efa38f" providerId="ADAL" clId="{24F3C7F5-0E4D-4BDA-A4AC-C95B4802285A}" dt="2024-01-15T11:36:58.344" v="1896" actId="27636"/>
        <pc:sldMkLst>
          <pc:docMk/>
          <pc:sldMk cId="3706624102" sldId="1322"/>
        </pc:sldMkLst>
        <pc:spChg chg="mod">
          <ac:chgData name="Walo, Waldemar" userId="e8298971-bfde-4c68-9aeb-c92007efa38f" providerId="ADAL" clId="{24F3C7F5-0E4D-4BDA-A4AC-C95B4802285A}" dt="2024-01-15T11:36:58.344" v="1896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Walo, Waldemar" userId="e8298971-bfde-4c68-9aeb-c92007efa38f" providerId="ADAL" clId="{24F3C7F5-0E4D-4BDA-A4AC-C95B4802285A}" dt="2024-01-26T10:45:27.062" v="2308" actId="6549"/>
        <pc:sldMkLst>
          <pc:docMk/>
          <pc:sldMk cId="3377655524" sldId="1327"/>
        </pc:sldMkLst>
        <pc:spChg chg="mod">
          <ac:chgData name="Walo, Waldemar" userId="e8298971-bfde-4c68-9aeb-c92007efa38f" providerId="ADAL" clId="{24F3C7F5-0E4D-4BDA-A4AC-C95B4802285A}" dt="2024-01-26T10:41:02.898" v="2290" actId="6549"/>
          <ac:spMkLst>
            <pc:docMk/>
            <pc:sldMk cId="3377655524" sldId="1327"/>
            <ac:spMk id="2" creationId="{911674FA-AAB1-290E-AC82-CA87E6310AA5}"/>
          </ac:spMkLst>
        </pc:spChg>
        <pc:spChg chg="mod">
          <ac:chgData name="Walo, Waldemar" userId="e8298971-bfde-4c68-9aeb-c92007efa38f" providerId="ADAL" clId="{24F3C7F5-0E4D-4BDA-A4AC-C95B4802285A}" dt="2024-01-26T10:39:34.861" v="2235" actId="20577"/>
          <ac:spMkLst>
            <pc:docMk/>
            <pc:sldMk cId="3377655524" sldId="1327"/>
            <ac:spMk id="8" creationId="{A9D0EDE1-319C-F7C6-A99B-9FCF1CAD96E2}"/>
          </ac:spMkLst>
        </pc:spChg>
        <pc:spChg chg="mod">
          <ac:chgData name="Walo, Waldemar" userId="e8298971-bfde-4c68-9aeb-c92007efa38f" providerId="ADAL" clId="{24F3C7F5-0E4D-4BDA-A4AC-C95B4802285A}" dt="2024-01-26T10:45:27.062" v="2308" actId="6549"/>
          <ac:spMkLst>
            <pc:docMk/>
            <pc:sldMk cId="3377655524" sldId="1327"/>
            <ac:spMk id="10" creationId="{68D47195-2257-27FD-9554-F23924FA4345}"/>
          </ac:spMkLst>
        </pc:spChg>
      </pc:sldChg>
      <pc:sldChg chg="modSp mod">
        <pc:chgData name="Walo, Waldemar" userId="e8298971-bfde-4c68-9aeb-c92007efa38f" providerId="ADAL" clId="{24F3C7F5-0E4D-4BDA-A4AC-C95B4802285A}" dt="2024-01-15T11:36:58.454" v="1901" actId="27636"/>
        <pc:sldMkLst>
          <pc:docMk/>
          <pc:sldMk cId="3967085744" sldId="1347"/>
        </pc:sldMkLst>
        <pc:spChg chg="mod">
          <ac:chgData name="Walo, Waldemar" userId="e8298971-bfde-4c68-9aeb-c92007efa38f" providerId="ADAL" clId="{24F3C7F5-0E4D-4BDA-A4AC-C95B4802285A}" dt="2024-01-15T11:36:58.454" v="1901" actId="27636"/>
          <ac:spMkLst>
            <pc:docMk/>
            <pc:sldMk cId="3967085744" sldId="1347"/>
            <ac:spMk id="2" creationId="{907A6792-CD02-599B-4146-7772C73B01E3}"/>
          </ac:spMkLst>
        </pc:spChg>
        <pc:spChg chg="mod">
          <ac:chgData name="Walo, Waldemar" userId="e8298971-bfde-4c68-9aeb-c92007efa38f" providerId="ADAL" clId="{24F3C7F5-0E4D-4BDA-A4AC-C95B4802285A}" dt="2024-01-15T11:36:58.454" v="1900" actId="27636"/>
          <ac:spMkLst>
            <pc:docMk/>
            <pc:sldMk cId="3967085744" sldId="1347"/>
            <ac:spMk id="7" creationId="{83D1AB77-327B-D8C5-CF7B-688095FA023A}"/>
          </ac:spMkLst>
        </pc:spChg>
      </pc:sldChg>
      <pc:sldChg chg="modSp mod">
        <pc:chgData name="Walo, Waldemar" userId="e8298971-bfde-4c68-9aeb-c92007efa38f" providerId="ADAL" clId="{24F3C7F5-0E4D-4BDA-A4AC-C95B4802285A}" dt="2024-01-15T11:36:58.438" v="1899" actId="27636"/>
        <pc:sldMkLst>
          <pc:docMk/>
          <pc:sldMk cId="1949626962" sldId="1349"/>
        </pc:sldMkLst>
        <pc:spChg chg="mod">
          <ac:chgData name="Walo, Waldemar" userId="e8298971-bfde-4c68-9aeb-c92007efa38f" providerId="ADAL" clId="{24F3C7F5-0E4D-4BDA-A4AC-C95B4802285A}" dt="2024-01-15T11:36:58.438" v="1899" actId="27636"/>
          <ac:spMkLst>
            <pc:docMk/>
            <pc:sldMk cId="1949626962" sldId="1349"/>
            <ac:spMk id="2" creationId="{907A6792-CD02-599B-4146-7772C73B01E3}"/>
          </ac:spMkLst>
        </pc:spChg>
        <pc:spChg chg="mod">
          <ac:chgData name="Walo, Waldemar" userId="e8298971-bfde-4c68-9aeb-c92007efa38f" providerId="ADAL" clId="{24F3C7F5-0E4D-4BDA-A4AC-C95B4802285A}" dt="2024-01-15T11:36:58.438" v="1898" actId="27636"/>
          <ac:spMkLst>
            <pc:docMk/>
            <pc:sldMk cId="1949626962" sldId="1349"/>
            <ac:spMk id="8" creationId="{9CFFF608-5DCB-85A5-D2CF-77199B9A17D9}"/>
          </ac:spMkLst>
        </pc:spChg>
      </pc:sldChg>
      <pc:sldChg chg="modSp mod">
        <pc:chgData name="Walo, Waldemar" userId="e8298971-bfde-4c68-9aeb-c92007efa38f" providerId="ADAL" clId="{24F3C7F5-0E4D-4BDA-A4AC-C95B4802285A}" dt="2024-01-15T11:36:58.312" v="1895" actId="27636"/>
        <pc:sldMkLst>
          <pc:docMk/>
          <pc:sldMk cId="628719752" sldId="1353"/>
        </pc:sldMkLst>
        <pc:spChg chg="mod">
          <ac:chgData name="Walo, Waldemar" userId="e8298971-bfde-4c68-9aeb-c92007efa38f" providerId="ADAL" clId="{24F3C7F5-0E4D-4BDA-A4AC-C95B4802285A}" dt="2024-01-15T11:36:58.312" v="1895" actId="27636"/>
          <ac:spMkLst>
            <pc:docMk/>
            <pc:sldMk cId="628719752" sldId="1353"/>
            <ac:spMk id="7" creationId="{83D1AB77-327B-D8C5-CF7B-688095FA023A}"/>
          </ac:spMkLst>
        </pc:spChg>
      </pc:sldChg>
      <pc:sldChg chg="addSp delSp modSp add mod">
        <pc:chgData name="Walo, Waldemar" userId="e8298971-bfde-4c68-9aeb-c92007efa38f" providerId="ADAL" clId="{24F3C7F5-0E4D-4BDA-A4AC-C95B4802285A}" dt="2024-02-01T09:31:39.077" v="2435"/>
        <pc:sldMkLst>
          <pc:docMk/>
          <pc:sldMk cId="3349555335" sldId="1362"/>
        </pc:sldMkLst>
        <pc:spChg chg="mod">
          <ac:chgData name="Walo, Waldemar" userId="e8298971-bfde-4c68-9aeb-c92007efa38f" providerId="ADAL" clId="{24F3C7F5-0E4D-4BDA-A4AC-C95B4802285A}" dt="2024-02-01T09:26:28.730" v="2381" actId="20577"/>
          <ac:spMkLst>
            <pc:docMk/>
            <pc:sldMk cId="3349555335" sldId="1362"/>
            <ac:spMk id="2" creationId="{1692525E-A870-A45E-6DDE-5DA273AC6EED}"/>
          </ac:spMkLst>
        </pc:spChg>
        <pc:spChg chg="mod">
          <ac:chgData name="Walo, Waldemar" userId="e8298971-bfde-4c68-9aeb-c92007efa38f" providerId="ADAL" clId="{24F3C7F5-0E4D-4BDA-A4AC-C95B4802285A}" dt="2024-02-01T09:29:49.053" v="2418" actId="20577"/>
          <ac:spMkLst>
            <pc:docMk/>
            <pc:sldMk cId="3349555335" sldId="1362"/>
            <ac:spMk id="3" creationId="{66CC37AE-8AAF-7900-9240-93D574D86204}"/>
          </ac:spMkLst>
        </pc:spChg>
        <pc:spChg chg="mod">
          <ac:chgData name="Walo, Waldemar" userId="e8298971-bfde-4c68-9aeb-c92007efa38f" providerId="ADAL" clId="{24F3C7F5-0E4D-4BDA-A4AC-C95B4802285A}" dt="2024-02-01T09:29:42.288" v="2412" actId="20577"/>
          <ac:spMkLst>
            <pc:docMk/>
            <pc:sldMk cId="3349555335" sldId="1362"/>
            <ac:spMk id="4" creationId="{A43141BC-27B9-3206-0BA5-5F19599F51DE}"/>
          </ac:spMkLst>
        </pc:spChg>
        <pc:spChg chg="add del">
          <ac:chgData name="Walo, Waldemar" userId="e8298971-bfde-4c68-9aeb-c92007efa38f" providerId="ADAL" clId="{24F3C7F5-0E4D-4BDA-A4AC-C95B4802285A}" dt="2024-02-01T09:25:07.095" v="2340"/>
          <ac:spMkLst>
            <pc:docMk/>
            <pc:sldMk cId="3349555335" sldId="1362"/>
            <ac:spMk id="6" creationId="{97C1B730-ACBE-991A-E7DF-67094121B1BA}"/>
          </ac:spMkLst>
        </pc:spChg>
        <pc:spChg chg="mod">
          <ac:chgData name="Walo, Waldemar" userId="e8298971-bfde-4c68-9aeb-c92007efa38f" providerId="ADAL" clId="{24F3C7F5-0E4D-4BDA-A4AC-C95B4802285A}" dt="2024-02-01T09:31:39.077" v="2435"/>
          <ac:spMkLst>
            <pc:docMk/>
            <pc:sldMk cId="3349555335" sldId="1362"/>
            <ac:spMk id="7" creationId="{33BC7E8F-321D-D3EA-93F2-9277C71CE905}"/>
          </ac:spMkLst>
        </pc:spChg>
        <pc:spChg chg="mod">
          <ac:chgData name="Walo, Waldemar" userId="e8298971-bfde-4c68-9aeb-c92007efa38f" providerId="ADAL" clId="{24F3C7F5-0E4D-4BDA-A4AC-C95B4802285A}" dt="2024-02-01T09:29:32.528" v="2410" actId="6549"/>
          <ac:spMkLst>
            <pc:docMk/>
            <pc:sldMk cId="3349555335" sldId="1362"/>
            <ac:spMk id="8" creationId="{21B27FAC-F4D8-14FA-E816-E0F5A6718CC9}"/>
          </ac:spMkLst>
        </pc:spChg>
        <pc:spChg chg="mod">
          <ac:chgData name="Walo, Waldemar" userId="e8298971-bfde-4c68-9aeb-c92007efa38f" providerId="ADAL" clId="{24F3C7F5-0E4D-4BDA-A4AC-C95B4802285A}" dt="2024-02-01T09:29:52.811" v="2419" actId="6549"/>
          <ac:spMkLst>
            <pc:docMk/>
            <pc:sldMk cId="3349555335" sldId="1362"/>
            <ac:spMk id="10" creationId="{6544F642-4FD7-D49B-CDFE-2E39F605B09B}"/>
          </ac:spMkLst>
        </pc:spChg>
        <pc:spChg chg="add del">
          <ac:chgData name="Walo, Waldemar" userId="e8298971-bfde-4c68-9aeb-c92007efa38f" providerId="ADAL" clId="{24F3C7F5-0E4D-4BDA-A4AC-C95B4802285A}" dt="2024-02-01T09:25:22.553" v="2345"/>
          <ac:spMkLst>
            <pc:docMk/>
            <pc:sldMk cId="3349555335" sldId="1362"/>
            <ac:spMk id="11" creationId="{6B564010-D437-12B8-496C-6DEC90329243}"/>
          </ac:spMkLst>
        </pc:spChg>
        <pc:spChg chg="del">
          <ac:chgData name="Walo, Waldemar" userId="e8298971-bfde-4c68-9aeb-c92007efa38f" providerId="ADAL" clId="{24F3C7F5-0E4D-4BDA-A4AC-C95B4802285A}" dt="2024-02-01T09:27:29.303" v="2384"/>
          <ac:spMkLst>
            <pc:docMk/>
            <pc:sldMk cId="3349555335" sldId="1362"/>
            <ac:spMk id="14" creationId="{2664158B-E6AE-27BF-D238-CD52487F20CD}"/>
          </ac:spMkLst>
        </pc:spChg>
        <pc:picChg chg="add mod modCrop">
          <ac:chgData name="Walo, Waldemar" userId="e8298971-bfde-4c68-9aeb-c92007efa38f" providerId="ADAL" clId="{24F3C7F5-0E4D-4BDA-A4AC-C95B4802285A}" dt="2024-02-01T09:29:07.923" v="2409" actId="14100"/>
          <ac:picMkLst>
            <pc:docMk/>
            <pc:sldMk cId="3349555335" sldId="1362"/>
            <ac:picMk id="13" creationId="{73CC6E30-7A8A-BCF2-9BF0-05B1EF11DCD6}"/>
          </ac:picMkLst>
        </pc:picChg>
        <pc:picChg chg="add del">
          <ac:chgData name="Walo, Waldemar" userId="e8298971-bfde-4c68-9aeb-c92007efa38f" providerId="ADAL" clId="{24F3C7F5-0E4D-4BDA-A4AC-C95B4802285A}" dt="2024-02-01T09:25:35.632" v="2353" actId="478"/>
          <ac:picMkLst>
            <pc:docMk/>
            <pc:sldMk cId="3349555335" sldId="1362"/>
            <ac:picMk id="15" creationId="{7D6C1CEA-0784-D836-39F9-B63CF5AAA3B5}"/>
          </ac:picMkLst>
        </pc:picChg>
      </pc:sldChg>
    </pc:docChg>
  </pc:docChgLst>
  <pc:docChgLst>
    <pc:chgData name="Freier, Julian" userId="S::julian.freier@accenture.com::893e6165-c425-4972-88ec-6b064af3f775" providerId="AD" clId="Web-{44AAE0E8-98AB-9671-5809-2074530B7058}"/>
    <pc:docChg chg="modSld">
      <pc:chgData name="Freier, Julian" userId="S::julian.freier@accenture.com::893e6165-c425-4972-88ec-6b064af3f775" providerId="AD" clId="Web-{44AAE0E8-98AB-9671-5809-2074530B7058}" dt="2024-03-04T15:43:18.335" v="10" actId="20577"/>
      <pc:docMkLst>
        <pc:docMk/>
      </pc:docMkLst>
      <pc:sldChg chg="modSp">
        <pc:chgData name="Freier, Julian" userId="S::julian.freier@accenture.com::893e6165-c425-4972-88ec-6b064af3f775" providerId="AD" clId="Web-{44AAE0E8-98AB-9671-5809-2074530B7058}" dt="2024-03-04T15:43:18.335" v="10" actId="20577"/>
        <pc:sldMkLst>
          <pc:docMk/>
          <pc:sldMk cId="2586587400" sldId="1238"/>
        </pc:sldMkLst>
        <pc:spChg chg="mod">
          <ac:chgData name="Freier, Julian" userId="S::julian.freier@accenture.com::893e6165-c425-4972-88ec-6b064af3f775" providerId="AD" clId="Web-{44AAE0E8-98AB-9671-5809-2074530B7058}" dt="2024-03-04T15:43:18.335" v="10" actId="20577"/>
          <ac:spMkLst>
            <pc:docMk/>
            <pc:sldMk cId="2586587400" sldId="1238"/>
            <ac:spMk id="8" creationId="{21B27FAC-F4D8-14FA-E816-E0F5A6718CC9}"/>
          </ac:spMkLst>
        </pc:spChg>
      </pc:sldChg>
    </pc:docChg>
  </pc:docChgLst>
  <pc:docChgLst>
    <pc:chgData name="Hachim, Adel" userId="S::adel.hachim@accenture.com::35b68745-81ff-4c11-956b-d3a71da06ada" providerId="AD" clId="Web-{0887EC4A-4D27-EE3E-BA97-038E1160B3EA}"/>
    <pc:docChg chg="modSld">
      <pc:chgData name="Hachim, Adel" userId="S::adel.hachim@accenture.com::35b68745-81ff-4c11-956b-d3a71da06ada" providerId="AD" clId="Web-{0887EC4A-4D27-EE3E-BA97-038E1160B3EA}" dt="2024-02-28T19:42:05.147" v="25" actId="14100"/>
      <pc:docMkLst>
        <pc:docMk/>
      </pc:docMkLst>
      <pc:sldChg chg="addSp delSp modSp">
        <pc:chgData name="Hachim, Adel" userId="S::adel.hachim@accenture.com::35b68745-81ff-4c11-956b-d3a71da06ada" providerId="AD" clId="Web-{0887EC4A-4D27-EE3E-BA97-038E1160B3EA}" dt="2024-02-28T19:42:05.147" v="25" actId="14100"/>
        <pc:sldMkLst>
          <pc:docMk/>
          <pc:sldMk cId="1635322474" sldId="1367"/>
        </pc:sldMkLst>
        <pc:spChg chg="mod">
          <ac:chgData name="Hachim, Adel" userId="S::adel.hachim@accenture.com::35b68745-81ff-4c11-956b-d3a71da06ada" providerId="AD" clId="Web-{0887EC4A-4D27-EE3E-BA97-038E1160B3EA}" dt="2024-02-28T19:39:01.190" v="17" actId="20577"/>
          <ac:spMkLst>
            <pc:docMk/>
            <pc:sldMk cId="1635322474" sldId="1367"/>
            <ac:spMk id="2" creationId="{EDB7F603-43E1-138C-ED9A-D22412A54EEE}"/>
          </ac:spMkLst>
        </pc:spChg>
        <pc:spChg chg="mod">
          <ac:chgData name="Hachim, Adel" userId="S::adel.hachim@accenture.com::35b68745-81ff-4c11-956b-d3a71da06ada" providerId="AD" clId="Web-{0887EC4A-4D27-EE3E-BA97-038E1160B3EA}" dt="2024-02-28T19:38:21.252" v="16" actId="20577"/>
          <ac:spMkLst>
            <pc:docMk/>
            <pc:sldMk cId="1635322474" sldId="1367"/>
            <ac:spMk id="5" creationId="{36D81E01-FA80-9ECD-91F6-8BABD4027A47}"/>
          </ac:spMkLst>
        </pc:spChg>
        <pc:spChg chg="add del mod">
          <ac:chgData name="Hachim, Adel" userId="S::adel.hachim@accenture.com::35b68745-81ff-4c11-956b-d3a71da06ada" providerId="AD" clId="Web-{0887EC4A-4D27-EE3E-BA97-038E1160B3EA}" dt="2024-02-28T19:41:22.865" v="23"/>
          <ac:spMkLst>
            <pc:docMk/>
            <pc:sldMk cId="1635322474" sldId="1367"/>
            <ac:spMk id="12" creationId="{5F8E2373-82B9-EC41-F4CE-B61D0687450C}"/>
          </ac:spMkLst>
        </pc:spChg>
        <pc:picChg chg="del">
          <ac:chgData name="Hachim, Adel" userId="S::adel.hachim@accenture.com::35b68745-81ff-4c11-956b-d3a71da06ada" providerId="AD" clId="Web-{0887EC4A-4D27-EE3E-BA97-038E1160B3EA}" dt="2024-02-28T19:40:53.646" v="18"/>
          <ac:picMkLst>
            <pc:docMk/>
            <pc:sldMk cId="1635322474" sldId="1367"/>
            <ac:picMk id="11" creationId="{7EAD6592-6491-A778-D3DD-4AF178079B32}"/>
          </ac:picMkLst>
        </pc:picChg>
        <pc:picChg chg="add del mod ord">
          <ac:chgData name="Hachim, Adel" userId="S::adel.hachim@accenture.com::35b68745-81ff-4c11-956b-d3a71da06ada" providerId="AD" clId="Web-{0887EC4A-4D27-EE3E-BA97-038E1160B3EA}" dt="2024-02-28T19:41:14.287" v="22"/>
          <ac:picMkLst>
            <pc:docMk/>
            <pc:sldMk cId="1635322474" sldId="1367"/>
            <ac:picMk id="13" creationId="{46DD255F-07E8-0994-FD25-A51FD67E1AE2}"/>
          </ac:picMkLst>
        </pc:picChg>
        <pc:picChg chg="add mod ord">
          <ac:chgData name="Hachim, Adel" userId="S::adel.hachim@accenture.com::35b68745-81ff-4c11-956b-d3a71da06ada" providerId="AD" clId="Web-{0887EC4A-4D27-EE3E-BA97-038E1160B3EA}" dt="2024-02-28T19:42:05.147" v="25" actId="14100"/>
          <ac:picMkLst>
            <pc:docMk/>
            <pc:sldMk cId="1635322474" sldId="1367"/>
            <ac:picMk id="14" creationId="{2BF2C174-78AF-DE4B-BFF9-001CA8AF9CCE}"/>
          </ac:picMkLst>
        </pc:picChg>
      </pc:sldChg>
    </pc:docChg>
  </pc:docChgLst>
  <pc:docChgLst>
    <pc:chgData name="Plis, Rafal" userId="f719748d-d0fa-4251-b5f3-c0abc14e35af" providerId="ADAL" clId="{274FEDBB-C3BF-46FE-8E02-E08C10A1E0F4}"/>
    <pc:docChg chg="undo custSel modSld">
      <pc:chgData name="Plis, Rafal" userId="f719748d-d0fa-4251-b5f3-c0abc14e35af" providerId="ADAL" clId="{274FEDBB-C3BF-46FE-8E02-E08C10A1E0F4}" dt="2023-12-12T09:42:23.057" v="363" actId="20577"/>
      <pc:docMkLst>
        <pc:docMk/>
      </pc:docMkLst>
      <pc:sldChg chg="modSp mod">
        <pc:chgData name="Plis, Rafal" userId="f719748d-d0fa-4251-b5f3-c0abc14e35af" providerId="ADAL" clId="{274FEDBB-C3BF-46FE-8E02-E08C10A1E0F4}" dt="2023-12-12T09:42:23.057" v="363" actId="20577"/>
        <pc:sldMkLst>
          <pc:docMk/>
          <pc:sldMk cId="1731765507" sldId="1343"/>
        </pc:sldMkLst>
        <pc:spChg chg="mod">
          <ac:chgData name="Plis, Rafal" userId="f719748d-d0fa-4251-b5f3-c0abc14e35af" providerId="ADAL" clId="{274FEDBB-C3BF-46FE-8E02-E08C10A1E0F4}" dt="2023-12-12T09:28:41.187" v="82" actId="20577"/>
          <ac:spMkLst>
            <pc:docMk/>
            <pc:sldMk cId="1731765507" sldId="1343"/>
            <ac:spMk id="2" creationId="{911674FA-AAB1-290E-AC82-CA87E6310AA5}"/>
          </ac:spMkLst>
        </pc:spChg>
        <pc:spChg chg="mod">
          <ac:chgData name="Plis, Rafal" userId="f719748d-d0fa-4251-b5f3-c0abc14e35af" providerId="ADAL" clId="{274FEDBB-C3BF-46FE-8E02-E08C10A1E0F4}" dt="2023-12-12T09:42:23.057" v="363" actId="20577"/>
          <ac:spMkLst>
            <pc:docMk/>
            <pc:sldMk cId="1731765507" sldId="1343"/>
            <ac:spMk id="3" creationId="{89BADFF7-94B3-EAFF-AB1C-6D0ABEF9337C}"/>
          </ac:spMkLst>
        </pc:spChg>
        <pc:spChg chg="mod">
          <ac:chgData name="Plis, Rafal" userId="f719748d-d0fa-4251-b5f3-c0abc14e35af" providerId="ADAL" clId="{274FEDBB-C3BF-46FE-8E02-E08C10A1E0F4}" dt="2023-12-12T09:41:55.918" v="361" actId="20577"/>
          <ac:spMkLst>
            <pc:docMk/>
            <pc:sldMk cId="1731765507" sldId="1343"/>
            <ac:spMk id="8" creationId="{A9D0EDE1-319C-F7C6-A99B-9FCF1CAD96E2}"/>
          </ac:spMkLst>
        </pc:spChg>
      </pc:sldChg>
    </pc:docChg>
  </pc:docChgLst>
  <pc:docChgLst>
    <pc:chgData name="Wronierska, Katarzyna" userId="S::katarzyna.wronierska@accenture.com::c40e7990-4cee-487c-bb0c-936fcc1d3da6" providerId="AD" clId="Web-{695CF9D5-D1DF-4830-BC67-DC67E1F54907}"/>
    <pc:docChg chg="modSld">
      <pc:chgData name="Wronierska, Katarzyna" userId="S::katarzyna.wronierska@accenture.com::c40e7990-4cee-487c-bb0c-936fcc1d3da6" providerId="AD" clId="Web-{695CF9D5-D1DF-4830-BC67-DC67E1F54907}" dt="2024-02-19T11:41:30.724" v="12" actId="20577"/>
      <pc:docMkLst>
        <pc:docMk/>
      </pc:docMkLst>
      <pc:sldChg chg="modSp">
        <pc:chgData name="Wronierska, Katarzyna" userId="S::katarzyna.wronierska@accenture.com::c40e7990-4cee-487c-bb0c-936fcc1d3da6" providerId="AD" clId="Web-{695CF9D5-D1DF-4830-BC67-DC67E1F54907}" dt="2024-02-19T11:41:30.724" v="12" actId="20577"/>
        <pc:sldMkLst>
          <pc:docMk/>
          <pc:sldMk cId="3705596394" sldId="1317"/>
        </pc:sldMkLst>
        <pc:spChg chg="mod">
          <ac:chgData name="Wronierska, Katarzyna" userId="S::katarzyna.wronierska@accenture.com::c40e7990-4cee-487c-bb0c-936fcc1d3da6" providerId="AD" clId="Web-{695CF9D5-D1DF-4830-BC67-DC67E1F54907}" dt="2024-02-19T11:41:30.724" v="12" actId="20577"/>
          <ac:spMkLst>
            <pc:docMk/>
            <pc:sldMk cId="3705596394" sldId="1317"/>
            <ac:spMk id="10" creationId="{68D47195-2257-27FD-9554-F23924FA4345}"/>
          </ac:spMkLst>
        </pc:spChg>
      </pc:sldChg>
    </pc:docChg>
  </pc:docChgLst>
  <pc:docChgLst>
    <pc:chgData name="Trzcionkowski, Piotr" userId="S::piotr.trzcionkowski@accenture.com::0fa4f5d9-8ee9-4c8d-a91d-48ef1fca634f" providerId="AD" clId="Web-{40F78ED5-C936-43D2-AFD8-9E039B2F110F}"/>
    <pc:docChg chg="modSld">
      <pc:chgData name="Trzcionkowski, Piotr" userId="S::piotr.trzcionkowski@accenture.com::0fa4f5d9-8ee9-4c8d-a91d-48ef1fca634f" providerId="AD" clId="Web-{40F78ED5-C936-43D2-AFD8-9E039B2F110F}" dt="2023-10-24T08:44:02.847" v="9" actId="20577"/>
      <pc:docMkLst>
        <pc:docMk/>
      </pc:docMkLst>
      <pc:sldChg chg="modSp">
        <pc:chgData name="Trzcionkowski, Piotr" userId="S::piotr.trzcionkowski@accenture.com::0fa4f5d9-8ee9-4c8d-a91d-48ef1fca634f" providerId="AD" clId="Web-{40F78ED5-C936-43D2-AFD8-9E039B2F110F}" dt="2023-10-24T08:44:02.847" v="9" actId="20577"/>
        <pc:sldMkLst>
          <pc:docMk/>
          <pc:sldMk cId="1272399356" sldId="1309"/>
        </pc:sldMkLst>
        <pc:spChg chg="mod">
          <ac:chgData name="Trzcionkowski, Piotr" userId="S::piotr.trzcionkowski@accenture.com::0fa4f5d9-8ee9-4c8d-a91d-48ef1fca634f" providerId="AD" clId="Web-{40F78ED5-C936-43D2-AFD8-9E039B2F110F}" dt="2023-10-24T08:44:02.847" v="9" actId="20577"/>
          <ac:spMkLst>
            <pc:docMk/>
            <pc:sldMk cId="1272399356" sldId="1309"/>
            <ac:spMk id="10" creationId="{68D47195-2257-27FD-9554-F23924FA4345}"/>
          </ac:spMkLst>
        </pc:spChg>
      </pc:sldChg>
    </pc:docChg>
  </pc:docChgLst>
  <pc:docChgLst>
    <pc:chgData name="Korneta, Iga" userId="S::iga.korneta@accenture.com::5bb3f265-4f39-4daa-912c-5caa86b505fb" providerId="AD" clId="Web-{93887517-69FA-A832-D95B-826695544694}"/>
    <pc:docChg chg="modSld sldOrd">
      <pc:chgData name="Korneta, Iga" userId="S::iga.korneta@accenture.com::5bb3f265-4f39-4daa-912c-5caa86b505fb" providerId="AD" clId="Web-{93887517-69FA-A832-D95B-826695544694}" dt="2024-04-02T12:39:50.362" v="18" actId="20577"/>
      <pc:docMkLst>
        <pc:docMk/>
      </pc:docMkLst>
      <pc:sldChg chg="ord">
        <pc:chgData name="Korneta, Iga" userId="S::iga.korneta@accenture.com::5bb3f265-4f39-4daa-912c-5caa86b505fb" providerId="AD" clId="Web-{93887517-69FA-A832-D95B-826695544694}" dt="2024-04-02T12:38:22.093" v="6"/>
        <pc:sldMkLst>
          <pc:docMk/>
          <pc:sldMk cId="4146181164" sldId="1253"/>
        </pc:sldMkLst>
      </pc:sldChg>
      <pc:sldChg chg="modSp ord">
        <pc:chgData name="Korneta, Iga" userId="S::iga.korneta@accenture.com::5bb3f265-4f39-4daa-912c-5caa86b505fb" providerId="AD" clId="Web-{93887517-69FA-A832-D95B-826695544694}" dt="2024-04-02T12:39:50.362" v="18" actId="20577"/>
        <pc:sldMkLst>
          <pc:docMk/>
          <pc:sldMk cId="282247140" sldId="1363"/>
        </pc:sldMkLst>
        <pc:spChg chg="mod">
          <ac:chgData name="Korneta, Iga" userId="S::iga.korneta@accenture.com::5bb3f265-4f39-4daa-912c-5caa86b505fb" providerId="AD" clId="Web-{93887517-69FA-A832-D95B-826695544694}" dt="2024-04-02T12:37:58.921" v="5" actId="20577"/>
          <ac:spMkLst>
            <pc:docMk/>
            <pc:sldMk cId="282247140" sldId="1363"/>
            <ac:spMk id="7" creationId="{5BB75E3F-E931-615A-68A2-7BB81C48CFAD}"/>
          </ac:spMkLst>
        </pc:spChg>
        <pc:spChg chg="mod">
          <ac:chgData name="Korneta, Iga" userId="S::iga.korneta@accenture.com::5bb3f265-4f39-4daa-912c-5caa86b505fb" providerId="AD" clId="Web-{93887517-69FA-A832-D95B-826695544694}" dt="2024-04-02T12:39:50.362" v="18" actId="20577"/>
          <ac:spMkLst>
            <pc:docMk/>
            <pc:sldMk cId="282247140" sldId="1363"/>
            <ac:spMk id="10" creationId="{F538107F-65D0-6F34-3C3B-5A87C3C26470}"/>
          </ac:spMkLst>
        </pc:spChg>
      </pc:sldChg>
    </pc:docChg>
  </pc:docChgLst>
  <pc:docChgLst>
    <pc:chgData name="Sek, Michal" userId="6333ac57-2099-4e23-86b9-569ff65a7e0e" providerId="ADAL" clId="{BC33A786-E7D9-4E9F-B980-5278F5D3743C}"/>
    <pc:docChg chg="addSld delSld modSld">
      <pc:chgData name="Sek, Michal" userId="6333ac57-2099-4e23-86b9-569ff65a7e0e" providerId="ADAL" clId="{BC33A786-E7D9-4E9F-B980-5278F5D3743C}" dt="2024-03-28T12:23:36.577" v="2"/>
      <pc:docMkLst>
        <pc:docMk/>
      </pc:docMkLst>
      <pc:sldChg chg="add del">
        <pc:chgData name="Sek, Michal" userId="6333ac57-2099-4e23-86b9-569ff65a7e0e" providerId="ADAL" clId="{BC33A786-E7D9-4E9F-B980-5278F5D3743C}" dt="2024-03-28T12:23:36.440" v="1"/>
        <pc:sldMkLst>
          <pc:docMk/>
          <pc:sldMk cId="134775104" sldId="1372"/>
        </pc:sldMkLst>
      </pc:sldChg>
      <pc:sldChg chg="add">
        <pc:chgData name="Sek, Michal" userId="6333ac57-2099-4e23-86b9-569ff65a7e0e" providerId="ADAL" clId="{BC33A786-E7D9-4E9F-B980-5278F5D3743C}" dt="2024-03-28T12:23:36.577" v="2"/>
        <pc:sldMkLst>
          <pc:docMk/>
          <pc:sldMk cId="2448585092" sldId="1372"/>
        </pc:sldMkLst>
      </pc:sldChg>
    </pc:docChg>
  </pc:docChgLst>
  <pc:docChgLst>
    <pc:chgData name="Górski, Adam" userId="S::adam.gorski@accenture.com::ef48f5a5-9a98-4e41-9c63-9fdf5cc81b73" providerId="AD" clId="Web-{1DCD4663-9393-4746-92B3-0BD9DF4AB0F4}"/>
    <pc:docChg chg="modSld">
      <pc:chgData name="Górski, Adam" userId="S::adam.gorski@accenture.com::ef48f5a5-9a98-4e41-9c63-9fdf5cc81b73" providerId="AD" clId="Web-{1DCD4663-9393-4746-92B3-0BD9DF4AB0F4}" dt="2024-02-02T08:42:49.265" v="1" actId="20577"/>
      <pc:docMkLst>
        <pc:docMk/>
      </pc:docMkLst>
      <pc:sldChg chg="modSp">
        <pc:chgData name="Górski, Adam" userId="S::adam.gorski@accenture.com::ef48f5a5-9a98-4e41-9c63-9fdf5cc81b73" providerId="AD" clId="Web-{1DCD4663-9393-4746-92B3-0BD9DF4AB0F4}" dt="2024-02-02T08:42:49.265" v="1" actId="20577"/>
        <pc:sldMkLst>
          <pc:docMk/>
          <pc:sldMk cId="967545864" sldId="1360"/>
        </pc:sldMkLst>
        <pc:spChg chg="mod">
          <ac:chgData name="Górski, Adam" userId="S::adam.gorski@accenture.com::ef48f5a5-9a98-4e41-9c63-9fdf5cc81b73" providerId="AD" clId="Web-{1DCD4663-9393-4746-92B3-0BD9DF4AB0F4}" dt="2024-02-02T08:42:49.265" v="1" actId="20577"/>
          <ac:spMkLst>
            <pc:docMk/>
            <pc:sldMk cId="967545864" sldId="1360"/>
            <ac:spMk id="10" creationId="{F0157573-32CF-0171-A0CC-E3FC0F34ABF5}"/>
          </ac:spMkLst>
        </pc:spChg>
      </pc:sldChg>
    </pc:docChg>
  </pc:docChgLst>
  <pc:docChgLst>
    <pc:chgData name="Drozd, Szymon" userId="S::szymon.drozd@accenture.com::c94c0052-9971-412a-bdc4-3933dce0d80a" providerId="AD" clId="Web-{39A20CC0-AA33-9CB8-94D7-7ED55AAE0F4A}"/>
    <pc:docChg chg="modSld">
      <pc:chgData name="Drozd, Szymon" userId="S::szymon.drozd@accenture.com::c94c0052-9971-412a-bdc4-3933dce0d80a" providerId="AD" clId="Web-{39A20CC0-AA33-9CB8-94D7-7ED55AAE0F4A}" dt="2024-02-01T11:20:39.998" v="2" actId="20577"/>
      <pc:docMkLst>
        <pc:docMk/>
      </pc:docMkLst>
      <pc:sldChg chg="modSp">
        <pc:chgData name="Drozd, Szymon" userId="S::szymon.drozd@accenture.com::c94c0052-9971-412a-bdc4-3933dce0d80a" providerId="AD" clId="Web-{39A20CC0-AA33-9CB8-94D7-7ED55AAE0F4A}" dt="2024-02-01T11:20:39.998" v="2" actId="20577"/>
        <pc:sldMkLst>
          <pc:docMk/>
          <pc:sldMk cId="628719752" sldId="1353"/>
        </pc:sldMkLst>
        <pc:spChg chg="mod">
          <ac:chgData name="Drozd, Szymon" userId="S::szymon.drozd@accenture.com::c94c0052-9971-412a-bdc4-3933dce0d80a" providerId="AD" clId="Web-{39A20CC0-AA33-9CB8-94D7-7ED55AAE0F4A}" dt="2024-02-01T11:20:39.998" v="2" actId="20577"/>
          <ac:spMkLst>
            <pc:docMk/>
            <pc:sldMk cId="628719752" sldId="1353"/>
            <ac:spMk id="8" creationId="{9CFFF608-5DCB-85A5-D2CF-77199B9A17D9}"/>
          </ac:spMkLst>
        </pc:spChg>
      </pc:sldChg>
    </pc:docChg>
  </pc:docChgLst>
  <pc:docChgLst>
    <pc:chgData name="Mazur, Bartosz" userId="S::b.mazur@accenture.com::24b0e517-ff9d-4e98-810a-0f318c5bc9e2" providerId="AD" clId="Web-{F90742EE-2B01-21D5-E704-879BB3DCB005}"/>
    <pc:docChg chg="modSld sldOrd">
      <pc:chgData name="Mazur, Bartosz" userId="S::b.mazur@accenture.com::24b0e517-ff9d-4e98-810a-0f318c5bc9e2" providerId="AD" clId="Web-{F90742EE-2B01-21D5-E704-879BB3DCB005}" dt="2023-12-11T09:13:05.621" v="48" actId="20577"/>
      <pc:docMkLst>
        <pc:docMk/>
      </pc:docMkLst>
      <pc:sldChg chg="ord">
        <pc:chgData name="Mazur, Bartosz" userId="S::b.mazur@accenture.com::24b0e517-ff9d-4e98-810a-0f318c5bc9e2" providerId="AD" clId="Web-{F90742EE-2B01-21D5-E704-879BB3DCB005}" dt="2023-12-11T08:50:14.528" v="0"/>
        <pc:sldMkLst>
          <pc:docMk/>
          <pc:sldMk cId="1949626962" sldId="1349"/>
        </pc:sldMkLst>
      </pc:sldChg>
      <pc:sldChg chg="modSp">
        <pc:chgData name="Mazur, Bartosz" userId="S::b.mazur@accenture.com::24b0e517-ff9d-4e98-810a-0f318c5bc9e2" providerId="AD" clId="Web-{F90742EE-2B01-21D5-E704-879BB3DCB005}" dt="2023-12-11T09:13:05.621" v="48" actId="20577"/>
        <pc:sldMkLst>
          <pc:docMk/>
          <pc:sldMk cId="4110471149" sldId="1354"/>
        </pc:sldMkLst>
        <pc:spChg chg="mod">
          <ac:chgData name="Mazur, Bartosz" userId="S::b.mazur@accenture.com::24b0e517-ff9d-4e98-810a-0f318c5bc9e2" providerId="AD" clId="Web-{F90742EE-2B01-21D5-E704-879BB3DCB005}" dt="2023-12-11T09:13:05.621" v="48" actId="20577"/>
          <ac:spMkLst>
            <pc:docMk/>
            <pc:sldMk cId="4110471149" sldId="1354"/>
            <ac:spMk id="10" creationId="{6544F642-4FD7-D49B-CDFE-2E39F605B09B}"/>
          </ac:spMkLst>
        </pc:spChg>
      </pc:sldChg>
    </pc:docChg>
  </pc:docChgLst>
  <pc:docChgLst>
    <pc:chgData name="Strojewska, Magdalena" userId="89b3da8a-f864-4e17-a722-da71c036d456" providerId="ADAL" clId="{20D100F4-1563-4E21-8F29-50057090EED4}"/>
    <pc:docChg chg="undo redo custSel addSld modSld sldOrd">
      <pc:chgData name="Strojewska, Magdalena" userId="89b3da8a-f864-4e17-a722-da71c036d456" providerId="ADAL" clId="{20D100F4-1563-4E21-8F29-50057090EED4}" dt="2024-02-26T12:31:57.163" v="577" actId="20577"/>
      <pc:docMkLst>
        <pc:docMk/>
      </pc:docMkLst>
      <pc:sldChg chg="modSp mod">
        <pc:chgData name="Strojewska, Magdalena" userId="89b3da8a-f864-4e17-a722-da71c036d456" providerId="ADAL" clId="{20D100F4-1563-4E21-8F29-50057090EED4}" dt="2024-01-17T10:12:30.633" v="18" actId="14100"/>
        <pc:sldMkLst>
          <pc:docMk/>
          <pc:sldMk cId="3323270304" sldId="1234"/>
        </pc:sldMkLst>
        <pc:spChg chg="mod">
          <ac:chgData name="Strojewska, Magdalena" userId="89b3da8a-f864-4e17-a722-da71c036d456" providerId="ADAL" clId="{20D100F4-1563-4E21-8F29-50057090EED4}" dt="2024-01-17T10:12:30.633" v="18" actId="14100"/>
          <ac:spMkLst>
            <pc:docMk/>
            <pc:sldMk cId="3323270304" sldId="1234"/>
            <ac:spMk id="2" creationId="{1692525E-A870-A45E-6DDE-5DA273AC6EED}"/>
          </ac:spMkLst>
        </pc:spChg>
      </pc:sldChg>
      <pc:sldChg chg="modSp mod">
        <pc:chgData name="Strojewska, Magdalena" userId="89b3da8a-f864-4e17-a722-da71c036d456" providerId="ADAL" clId="{20D100F4-1563-4E21-8F29-50057090EED4}" dt="2023-10-23T11:29:25.336" v="17" actId="14100"/>
        <pc:sldMkLst>
          <pc:docMk/>
          <pc:sldMk cId="3423287306" sldId="1257"/>
        </pc:sldMkLst>
        <pc:spChg chg="mod">
          <ac:chgData name="Strojewska, Magdalena" userId="89b3da8a-f864-4e17-a722-da71c036d456" providerId="ADAL" clId="{20D100F4-1563-4E21-8F29-50057090EED4}" dt="2023-10-23T11:20:30.214" v="0" actId="20577"/>
          <ac:spMkLst>
            <pc:docMk/>
            <pc:sldMk cId="3423287306" sldId="1257"/>
            <ac:spMk id="2" creationId="{911674FA-AAB1-290E-AC82-CA87E6310AA5}"/>
          </ac:spMkLst>
        </pc:spChg>
        <pc:spChg chg="mod">
          <ac:chgData name="Strojewska, Magdalena" userId="89b3da8a-f864-4e17-a722-da71c036d456" providerId="ADAL" clId="{20D100F4-1563-4E21-8F29-50057090EED4}" dt="2023-10-23T11:29:25.336" v="17" actId="14100"/>
          <ac:spMkLst>
            <pc:docMk/>
            <pc:sldMk cId="3423287306" sldId="1257"/>
            <ac:spMk id="3" creationId="{24306D85-71DB-A43C-EE9F-A05E2C3B843E}"/>
          </ac:spMkLst>
        </pc:spChg>
        <pc:spChg chg="mod">
          <ac:chgData name="Strojewska, Magdalena" userId="89b3da8a-f864-4e17-a722-da71c036d456" providerId="ADAL" clId="{20D100F4-1563-4E21-8F29-50057090EED4}" dt="2023-10-23T11:28:17.142" v="5" actId="20578"/>
          <ac:spMkLst>
            <pc:docMk/>
            <pc:sldMk cId="3423287306" sldId="1257"/>
            <ac:spMk id="10" creationId="{68D47195-2257-27FD-9554-F23924FA4345}"/>
          </ac:spMkLst>
        </pc:spChg>
      </pc:sldChg>
      <pc:sldChg chg="modSp mod">
        <pc:chgData name="Strojewska, Magdalena" userId="89b3da8a-f864-4e17-a722-da71c036d456" providerId="ADAL" clId="{20D100F4-1563-4E21-8F29-50057090EED4}" dt="2024-02-26T12:30:56.206" v="572" actId="123"/>
        <pc:sldMkLst>
          <pc:docMk/>
          <pc:sldMk cId="996591743" sldId="1301"/>
        </pc:sldMkLst>
        <pc:spChg chg="mod">
          <ac:chgData name="Strojewska, Magdalena" userId="89b3da8a-f864-4e17-a722-da71c036d456" providerId="ADAL" clId="{20D100F4-1563-4E21-8F29-50057090EED4}" dt="2024-02-26T12:30:56.206" v="572" actId="123"/>
          <ac:spMkLst>
            <pc:docMk/>
            <pc:sldMk cId="996591743" sldId="1301"/>
            <ac:spMk id="10" creationId="{68D47195-2257-27FD-9554-F23924FA4345}"/>
          </ac:spMkLst>
        </pc:spChg>
      </pc:sldChg>
      <pc:sldChg chg="modNotesTx">
        <pc:chgData name="Strojewska, Magdalena" userId="89b3da8a-f864-4e17-a722-da71c036d456" providerId="ADAL" clId="{20D100F4-1563-4E21-8F29-50057090EED4}" dt="2024-01-17T10:34:40.218" v="31" actId="20577"/>
        <pc:sldMkLst>
          <pc:docMk/>
          <pc:sldMk cId="4109088728" sldId="1355"/>
        </pc:sldMkLst>
      </pc:sldChg>
      <pc:sldChg chg="addSp delSp modSp add mod ord modNotesTx">
        <pc:chgData name="Strojewska, Magdalena" userId="89b3da8a-f864-4e17-a722-da71c036d456" providerId="ADAL" clId="{20D100F4-1563-4E21-8F29-50057090EED4}" dt="2024-02-26T12:31:57.163" v="577" actId="20577"/>
        <pc:sldMkLst>
          <pc:docMk/>
          <pc:sldMk cId="2847091332" sldId="1368"/>
        </pc:sldMkLst>
        <pc:spChg chg="mod">
          <ac:chgData name="Strojewska, Magdalena" userId="89b3da8a-f864-4e17-a722-da71c036d456" providerId="ADAL" clId="{20D100F4-1563-4E21-8F29-50057090EED4}" dt="2024-02-26T12:01:59.287" v="503" actId="20577"/>
          <ac:spMkLst>
            <pc:docMk/>
            <pc:sldMk cId="2847091332" sldId="1368"/>
            <ac:spMk id="2" creationId="{B1B30B32-CD37-0E04-C6E3-83A31BB57983}"/>
          </ac:spMkLst>
        </pc:spChg>
        <pc:spChg chg="add del mod">
          <ac:chgData name="Strojewska, Magdalena" userId="89b3da8a-f864-4e17-a722-da71c036d456" providerId="ADAL" clId="{20D100F4-1563-4E21-8F29-50057090EED4}" dt="2024-02-26T12:09:42.568" v="550" actId="20577"/>
          <ac:spMkLst>
            <pc:docMk/>
            <pc:sldMk cId="2847091332" sldId="1368"/>
            <ac:spMk id="3" creationId="{6EB5865F-1DB2-9704-D13D-FFBC0190B5DD}"/>
          </ac:spMkLst>
        </pc:spChg>
        <pc:spChg chg="mod">
          <ac:chgData name="Strojewska, Magdalena" userId="89b3da8a-f864-4e17-a722-da71c036d456" providerId="ADAL" clId="{20D100F4-1563-4E21-8F29-50057090EED4}" dt="2024-02-26T11:17:03.167" v="46" actId="20577"/>
          <ac:spMkLst>
            <pc:docMk/>
            <pc:sldMk cId="2847091332" sldId="1368"/>
            <ac:spMk id="4" creationId="{DEFFC2F2-5427-A189-98F7-A9DFC128D02B}"/>
          </ac:spMkLst>
        </pc:spChg>
        <pc:spChg chg="mod">
          <ac:chgData name="Strojewska, Magdalena" userId="89b3da8a-f864-4e17-a722-da71c036d456" providerId="ADAL" clId="{20D100F4-1563-4E21-8F29-50057090EED4}" dt="2024-02-26T12:31:57.163" v="577" actId="20577"/>
          <ac:spMkLst>
            <pc:docMk/>
            <pc:sldMk cId="2847091332" sldId="1368"/>
            <ac:spMk id="5" creationId="{AAE3F712-037F-0BA0-2718-D2983F733C4B}"/>
          </ac:spMkLst>
        </pc:spChg>
        <pc:spChg chg="del">
          <ac:chgData name="Strojewska, Magdalena" userId="89b3da8a-f864-4e17-a722-da71c036d456" providerId="ADAL" clId="{20D100F4-1563-4E21-8F29-50057090EED4}" dt="2024-02-26T11:28:05.924" v="199" actId="931"/>
          <ac:spMkLst>
            <pc:docMk/>
            <pc:sldMk cId="2847091332" sldId="1368"/>
            <ac:spMk id="6" creationId="{B52C9BF5-8F26-923E-6E32-1AC61EC80001}"/>
          </ac:spMkLst>
        </pc:spChg>
        <pc:spChg chg="mod">
          <ac:chgData name="Strojewska, Magdalena" userId="89b3da8a-f864-4e17-a722-da71c036d456" providerId="ADAL" clId="{20D100F4-1563-4E21-8F29-50057090EED4}" dt="2024-02-26T11:19:18.677" v="92" actId="113"/>
          <ac:spMkLst>
            <pc:docMk/>
            <pc:sldMk cId="2847091332" sldId="1368"/>
            <ac:spMk id="7" creationId="{B4F12F25-F5B8-1D4F-D9E8-1A52C10C0EA3}"/>
          </ac:spMkLst>
        </pc:spChg>
        <pc:spChg chg="mod">
          <ac:chgData name="Strojewska, Magdalena" userId="89b3da8a-f864-4e17-a722-da71c036d456" providerId="ADAL" clId="{20D100F4-1563-4E21-8F29-50057090EED4}" dt="2024-02-26T11:21:47.215" v="166" actId="20577"/>
          <ac:spMkLst>
            <pc:docMk/>
            <pc:sldMk cId="2847091332" sldId="1368"/>
            <ac:spMk id="8" creationId="{37C82AA2-F4DC-10F4-AB52-8FC1F24EB6E2}"/>
          </ac:spMkLst>
        </pc:spChg>
        <pc:spChg chg="mod">
          <ac:chgData name="Strojewska, Magdalena" userId="89b3da8a-f864-4e17-a722-da71c036d456" providerId="ADAL" clId="{20D100F4-1563-4E21-8F29-50057090EED4}" dt="2024-02-26T11:17:28.037" v="61" actId="20577"/>
          <ac:spMkLst>
            <pc:docMk/>
            <pc:sldMk cId="2847091332" sldId="1368"/>
            <ac:spMk id="9" creationId="{605FC3C9-21B3-EDFB-AB33-A2F0BE5F4BF0}"/>
          </ac:spMkLst>
        </pc:spChg>
        <pc:spChg chg="mod">
          <ac:chgData name="Strojewska, Magdalena" userId="89b3da8a-f864-4e17-a722-da71c036d456" providerId="ADAL" clId="{20D100F4-1563-4E21-8F29-50057090EED4}" dt="2024-02-26T12:00:48.383" v="470" actId="20577"/>
          <ac:spMkLst>
            <pc:docMk/>
            <pc:sldMk cId="2847091332" sldId="1368"/>
            <ac:spMk id="10" creationId="{92312F48-4315-33D6-19FE-C7D670F14066}"/>
          </ac:spMkLst>
        </pc:spChg>
        <pc:spChg chg="add mod">
          <ac:chgData name="Strojewska, Magdalena" userId="89b3da8a-f864-4e17-a722-da71c036d456" providerId="ADAL" clId="{20D100F4-1563-4E21-8F29-50057090EED4}" dt="2024-02-26T11:22:36.668" v="172" actId="20577"/>
          <ac:spMkLst>
            <pc:docMk/>
            <pc:sldMk cId="2847091332" sldId="1368"/>
            <ac:spMk id="11" creationId="{47C8E1DC-94FF-5751-E565-BF2F7FEFBA66}"/>
          </ac:spMkLst>
        </pc:spChg>
        <pc:spChg chg="add del mod">
          <ac:chgData name="Strojewska, Magdalena" userId="89b3da8a-f864-4e17-a722-da71c036d456" providerId="ADAL" clId="{20D100F4-1563-4E21-8F29-50057090EED4}" dt="2024-02-26T12:02:59.514" v="533"/>
          <ac:spMkLst>
            <pc:docMk/>
            <pc:sldMk cId="2847091332" sldId="1368"/>
            <ac:spMk id="14" creationId="{E6A1918A-3668-DB5D-5153-2C4CC5088527}"/>
          </ac:spMkLst>
        </pc:spChg>
        <pc:spChg chg="add del mod">
          <ac:chgData name="Strojewska, Magdalena" userId="89b3da8a-f864-4e17-a722-da71c036d456" providerId="ADAL" clId="{20D100F4-1563-4E21-8F29-50057090EED4}" dt="2024-02-26T12:02:58.583" v="532" actId="478"/>
          <ac:spMkLst>
            <pc:docMk/>
            <pc:sldMk cId="2847091332" sldId="1368"/>
            <ac:spMk id="16" creationId="{0013FE30-7F06-0680-CDCC-AFAB4309D2ED}"/>
          </ac:spMkLst>
        </pc:spChg>
        <pc:picChg chg="add mod modCrop">
          <ac:chgData name="Strojewska, Magdalena" userId="89b3da8a-f864-4e17-a722-da71c036d456" providerId="ADAL" clId="{20D100F4-1563-4E21-8F29-50057090EED4}" dt="2024-02-26T11:29:51.278" v="225" actId="14100"/>
          <ac:picMkLst>
            <pc:docMk/>
            <pc:sldMk cId="2847091332" sldId="1368"/>
            <ac:picMk id="13" creationId="{5F9AF675-908E-9B9C-1BDC-83AC921EBD70}"/>
          </ac:picMkLst>
        </pc:picChg>
      </pc:sldChg>
    </pc:docChg>
  </pc:docChgLst>
  <pc:docChgLst>
    <pc:chgData name="Hachim, Adel" userId="S::adel.hachim@accenture.com::35b68745-81ff-4c11-956b-d3a71da06ada" providerId="AD" clId="Web-{E028EEBC-ADE6-6437-2B82-C1BC8CCA0605}"/>
    <pc:docChg chg="modSld">
      <pc:chgData name="Hachim, Adel" userId="S::adel.hachim@accenture.com::35b68745-81ff-4c11-956b-d3a71da06ada" providerId="AD" clId="Web-{E028EEBC-ADE6-6437-2B82-C1BC8CCA0605}" dt="2024-03-04T01:01:46.176" v="92" actId="20577"/>
      <pc:docMkLst>
        <pc:docMk/>
      </pc:docMkLst>
      <pc:sldChg chg="modSp">
        <pc:chgData name="Hachim, Adel" userId="S::adel.hachim@accenture.com::35b68745-81ff-4c11-956b-d3a71da06ada" providerId="AD" clId="Web-{E028EEBC-ADE6-6437-2B82-C1BC8CCA0605}" dt="2024-03-04T00:43:18.021" v="5" actId="20577"/>
        <pc:sldMkLst>
          <pc:docMk/>
          <pc:sldMk cId="3323270304" sldId="1234"/>
        </pc:sldMkLst>
        <pc:spChg chg="mod">
          <ac:chgData name="Hachim, Adel" userId="S::adel.hachim@accenture.com::35b68745-81ff-4c11-956b-d3a71da06ada" providerId="AD" clId="Web-{E028EEBC-ADE6-6437-2B82-C1BC8CCA0605}" dt="2024-03-04T00:43:18.021" v="5" actId="20577"/>
          <ac:spMkLst>
            <pc:docMk/>
            <pc:sldMk cId="3323270304" sldId="1234"/>
            <ac:spMk id="10" creationId="{6544F642-4FD7-D49B-CDFE-2E39F605B09B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0:53:09.434" v="72" actId="20577"/>
        <pc:sldMkLst>
          <pc:docMk/>
          <pc:sldMk cId="1755250638" sldId="1243"/>
        </pc:sldMkLst>
        <pc:spChg chg="mod">
          <ac:chgData name="Hachim, Adel" userId="S::adel.hachim@accenture.com::35b68745-81ff-4c11-956b-d3a71da06ada" providerId="AD" clId="Web-{E028EEBC-ADE6-6437-2B82-C1BC8CCA0605}" dt="2024-03-04T00:53:09.434" v="72" actId="20577"/>
          <ac:spMkLst>
            <pc:docMk/>
            <pc:sldMk cId="1755250638" sldId="1243"/>
            <ac:spMk id="10" creationId="{697AE1C7-A5BD-D613-EF73-565323981BB4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0:56:07.373" v="74" actId="20577"/>
        <pc:sldMkLst>
          <pc:docMk/>
          <pc:sldMk cId="1389653122" sldId="1249"/>
        </pc:sldMkLst>
        <pc:spChg chg="mod">
          <ac:chgData name="Hachim, Adel" userId="S::adel.hachim@accenture.com::35b68745-81ff-4c11-956b-d3a71da06ada" providerId="AD" clId="Web-{E028EEBC-ADE6-6437-2B82-C1BC8CCA0605}" dt="2024-03-04T00:56:07.373" v="74" actId="20577"/>
          <ac:spMkLst>
            <pc:docMk/>
            <pc:sldMk cId="1389653122" sldId="1249"/>
            <ac:spMk id="8" creationId="{A9D0EDE1-319C-F7C6-A99B-9FCF1CAD96E2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0:59:25.815" v="84" actId="20577"/>
        <pc:sldMkLst>
          <pc:docMk/>
          <pc:sldMk cId="3277565419" sldId="1266"/>
        </pc:sldMkLst>
        <pc:spChg chg="mod">
          <ac:chgData name="Hachim, Adel" userId="S::adel.hachim@accenture.com::35b68745-81ff-4c11-956b-d3a71da06ada" providerId="AD" clId="Web-{E028EEBC-ADE6-6437-2B82-C1BC8CCA0605}" dt="2024-03-04T00:59:25.815" v="84" actId="20577"/>
          <ac:spMkLst>
            <pc:docMk/>
            <pc:sldMk cId="3277565419" sldId="1266"/>
            <ac:spMk id="10" creationId="{68D47195-2257-27FD-9554-F23924FA4345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0:50:21.604" v="47" actId="20577"/>
        <pc:sldMkLst>
          <pc:docMk/>
          <pc:sldMk cId="3706624102" sldId="1322"/>
        </pc:sldMkLst>
        <pc:spChg chg="mod">
          <ac:chgData name="Hachim, Adel" userId="S::adel.hachim@accenture.com::35b68745-81ff-4c11-956b-d3a71da06ada" providerId="AD" clId="Web-{E028EEBC-ADE6-6437-2B82-C1BC8CCA0605}" dt="2024-03-04T00:48:14.368" v="21" actId="20577"/>
          <ac:spMkLst>
            <pc:docMk/>
            <pc:sldMk cId="3706624102" sldId="1322"/>
            <ac:spMk id="7" creationId="{96CAE378-94B4-0269-C4D1-EBD2C607BCC3}"/>
          </ac:spMkLst>
        </pc:spChg>
        <pc:spChg chg="mod">
          <ac:chgData name="Hachim, Adel" userId="S::adel.hachim@accenture.com::35b68745-81ff-4c11-956b-d3a71da06ada" providerId="AD" clId="Web-{E028EEBC-ADE6-6437-2B82-C1BC8CCA0605}" dt="2024-03-04T00:50:21.604" v="47" actId="20577"/>
          <ac:spMkLst>
            <pc:docMk/>
            <pc:sldMk cId="3706624102" sldId="1322"/>
            <ac:spMk id="8" creationId="{A9D0EDE1-319C-F7C6-A99B-9FCF1CAD96E2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1:00:19.300" v="86" actId="20577"/>
        <pc:sldMkLst>
          <pc:docMk/>
          <pc:sldMk cId="1300399888" sldId="1330"/>
        </pc:sldMkLst>
        <pc:spChg chg="mod">
          <ac:chgData name="Hachim, Adel" userId="S::adel.hachim@accenture.com::35b68745-81ff-4c11-956b-d3a71da06ada" providerId="AD" clId="Web-{E028EEBC-ADE6-6437-2B82-C1BC8CCA0605}" dt="2024-03-04T01:00:19.300" v="86" actId="20577"/>
          <ac:spMkLst>
            <pc:docMk/>
            <pc:sldMk cId="1300399888" sldId="1330"/>
            <ac:spMk id="10" creationId="{68D47195-2257-27FD-9554-F23924FA4345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0:42:28.771" v="1" actId="20577"/>
        <pc:sldMkLst>
          <pc:docMk/>
          <pc:sldMk cId="628719752" sldId="1353"/>
        </pc:sldMkLst>
        <pc:spChg chg="mod">
          <ac:chgData name="Hachim, Adel" userId="S::adel.hachim@accenture.com::35b68745-81ff-4c11-956b-d3a71da06ada" providerId="AD" clId="Web-{E028EEBC-ADE6-6437-2B82-C1BC8CCA0605}" dt="2024-03-04T00:42:28.771" v="1" actId="20577"/>
          <ac:spMkLst>
            <pc:docMk/>
            <pc:sldMk cId="628719752" sldId="1353"/>
            <ac:spMk id="6" creationId="{2815FC6A-DF30-1342-BA29-88AB2931094B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1:01:46.176" v="92" actId="20577"/>
        <pc:sldMkLst>
          <pc:docMk/>
          <pc:sldMk cId="4271209257" sldId="1357"/>
        </pc:sldMkLst>
        <pc:spChg chg="mod">
          <ac:chgData name="Hachim, Adel" userId="S::adel.hachim@accenture.com::35b68745-81ff-4c11-956b-d3a71da06ada" providerId="AD" clId="Web-{E028EEBC-ADE6-6437-2B82-C1BC8CCA0605}" dt="2024-03-04T01:01:46.176" v="92" actId="20577"/>
          <ac:spMkLst>
            <pc:docMk/>
            <pc:sldMk cId="4271209257" sldId="1357"/>
            <ac:spMk id="10" creationId="{6544F642-4FD7-D49B-CDFE-2E39F605B09B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0:51:43.808" v="64" actId="20577"/>
        <pc:sldMkLst>
          <pc:docMk/>
          <pc:sldMk cId="967545864" sldId="1360"/>
        </pc:sldMkLst>
        <pc:spChg chg="mod">
          <ac:chgData name="Hachim, Adel" userId="S::adel.hachim@accenture.com::35b68745-81ff-4c11-956b-d3a71da06ada" providerId="AD" clId="Web-{E028EEBC-ADE6-6437-2B82-C1BC8CCA0605}" dt="2024-03-04T00:51:43.808" v="64" actId="20577"/>
          <ac:spMkLst>
            <pc:docMk/>
            <pc:sldMk cId="967545864" sldId="1360"/>
            <ac:spMk id="7" creationId="{5F158B3F-280A-B8F3-A8E6-97B2C4022087}"/>
          </ac:spMkLst>
        </pc:spChg>
        <pc:spChg chg="mod">
          <ac:chgData name="Hachim, Adel" userId="S::adel.hachim@accenture.com::35b68745-81ff-4c11-956b-d3a71da06ada" providerId="AD" clId="Web-{E028EEBC-ADE6-6437-2B82-C1BC8CCA0605}" dt="2024-03-04T00:51:30.464" v="59" actId="20577"/>
          <ac:spMkLst>
            <pc:docMk/>
            <pc:sldMk cId="967545864" sldId="1360"/>
            <ac:spMk id="8" creationId="{A7CFB635-B6D6-5A76-DE47-21F059720E53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0:57:30.877" v="76" actId="20577"/>
        <pc:sldMkLst>
          <pc:docMk/>
          <pc:sldMk cId="282247140" sldId="1363"/>
        </pc:sldMkLst>
        <pc:spChg chg="mod">
          <ac:chgData name="Hachim, Adel" userId="S::adel.hachim@accenture.com::35b68745-81ff-4c11-956b-d3a71da06ada" providerId="AD" clId="Web-{E028EEBC-ADE6-6437-2B82-C1BC8CCA0605}" dt="2024-03-04T00:57:30.877" v="76" actId="20577"/>
          <ac:spMkLst>
            <pc:docMk/>
            <pc:sldMk cId="282247140" sldId="1363"/>
            <ac:spMk id="10" creationId="{F538107F-65D0-6F34-3C3B-5A87C3C26470}"/>
          </ac:spMkLst>
        </pc:spChg>
      </pc:sldChg>
      <pc:sldChg chg="modSp">
        <pc:chgData name="Hachim, Adel" userId="S::adel.hachim@accenture.com::35b68745-81ff-4c11-956b-d3a71da06ada" providerId="AD" clId="Web-{E028EEBC-ADE6-6437-2B82-C1BC8CCA0605}" dt="2024-03-04T00:51:15.776" v="57" actId="20577"/>
        <pc:sldMkLst>
          <pc:docMk/>
          <pc:sldMk cId="2847091332" sldId="1368"/>
        </pc:sldMkLst>
        <pc:spChg chg="mod">
          <ac:chgData name="Hachim, Adel" userId="S::adel.hachim@accenture.com::35b68745-81ff-4c11-956b-d3a71da06ada" providerId="AD" clId="Web-{E028EEBC-ADE6-6437-2B82-C1BC8CCA0605}" dt="2024-03-04T00:50:59.229" v="53" actId="20577"/>
          <ac:spMkLst>
            <pc:docMk/>
            <pc:sldMk cId="2847091332" sldId="1368"/>
            <ac:spMk id="8" creationId="{37C82AA2-F4DC-10F4-AB52-8FC1F24EB6E2}"/>
          </ac:spMkLst>
        </pc:spChg>
        <pc:spChg chg="mod">
          <ac:chgData name="Hachim, Adel" userId="S::adel.hachim@accenture.com::35b68745-81ff-4c11-956b-d3a71da06ada" providerId="AD" clId="Web-{E028EEBC-ADE6-6437-2B82-C1BC8CCA0605}" dt="2024-03-04T00:51:15.776" v="57" actId="20577"/>
          <ac:spMkLst>
            <pc:docMk/>
            <pc:sldMk cId="2847091332" sldId="1368"/>
            <ac:spMk id="10" creationId="{92312F48-4315-33D6-19FE-C7D670F14066}"/>
          </ac:spMkLst>
        </pc:spChg>
      </pc:sldChg>
    </pc:docChg>
  </pc:docChgLst>
  <pc:docChgLst>
    <pc:chgData name="Fijalka, Malgorzata" userId="S::malgorzata.fijalka@accenture.com::d06e394b-1898-4561-8864-fc7e76b1e7e8" providerId="AD" clId="Web-{0E695005-49D8-D59F-BCD6-A42649490F95}"/>
    <pc:docChg chg="modSld">
      <pc:chgData name="Fijalka, Malgorzata" userId="S::malgorzata.fijalka@accenture.com::d06e394b-1898-4561-8864-fc7e76b1e7e8" providerId="AD" clId="Web-{0E695005-49D8-D59F-BCD6-A42649490F95}" dt="2024-03-29T09:56:36.683" v="3" actId="20577"/>
      <pc:docMkLst>
        <pc:docMk/>
      </pc:docMkLst>
      <pc:sldChg chg="modSp">
        <pc:chgData name="Fijalka, Malgorzata" userId="S::malgorzata.fijalka@accenture.com::d06e394b-1898-4561-8864-fc7e76b1e7e8" providerId="AD" clId="Web-{0E695005-49D8-D59F-BCD6-A42649490F95}" dt="2024-03-29T09:56:36.683" v="3" actId="20577"/>
        <pc:sldMkLst>
          <pc:docMk/>
          <pc:sldMk cId="2670694553" sldId="1236"/>
        </pc:sldMkLst>
        <pc:spChg chg="mod">
          <ac:chgData name="Fijalka, Malgorzata" userId="S::malgorzata.fijalka@accenture.com::d06e394b-1898-4561-8864-fc7e76b1e7e8" providerId="AD" clId="Web-{0E695005-49D8-D59F-BCD6-A42649490F95}" dt="2024-03-29T09:56:17.636" v="0" actId="20577"/>
          <ac:spMkLst>
            <pc:docMk/>
            <pc:sldMk cId="2670694553" sldId="1236"/>
            <ac:spMk id="2" creationId="{1692525E-A870-A45E-6DDE-5DA273AC6EED}"/>
          </ac:spMkLst>
        </pc:spChg>
        <pc:spChg chg="mod">
          <ac:chgData name="Fijalka, Malgorzata" userId="S::malgorzata.fijalka@accenture.com::d06e394b-1898-4561-8864-fc7e76b1e7e8" providerId="AD" clId="Web-{0E695005-49D8-D59F-BCD6-A42649490F95}" dt="2024-03-29T09:56:36.683" v="3" actId="20577"/>
          <ac:spMkLst>
            <pc:docMk/>
            <pc:sldMk cId="2670694553" sldId="1236"/>
            <ac:spMk id="8" creationId="{21B27FAC-F4D8-14FA-E816-E0F5A6718CC9}"/>
          </ac:spMkLst>
        </pc:spChg>
      </pc:sldChg>
    </pc:docChg>
  </pc:docChgLst>
  <pc:docChgLst>
    <pc:chgData name="Parol, Dariusz" userId="cc06662d-a6b4-4211-9222-1a2bd36ad8d6" providerId="ADAL" clId="{17362161-A2B9-42C8-8DE2-2BD3D21808C9}"/>
    <pc:docChg chg="custSel delSld modSld sldOrd modSection">
      <pc:chgData name="Parol, Dariusz" userId="cc06662d-a6b4-4211-9222-1a2bd36ad8d6" providerId="ADAL" clId="{17362161-A2B9-42C8-8DE2-2BD3D21808C9}" dt="2023-12-13T09:06:42.694" v="44" actId="47"/>
      <pc:docMkLst>
        <pc:docMk/>
      </pc:docMkLst>
      <pc:sldChg chg="del mod modShow">
        <pc:chgData name="Parol, Dariusz" userId="cc06662d-a6b4-4211-9222-1a2bd36ad8d6" providerId="ADAL" clId="{17362161-A2B9-42C8-8DE2-2BD3D21808C9}" dt="2023-12-13T09:06:42.694" v="44" actId="47"/>
        <pc:sldMkLst>
          <pc:docMk/>
          <pc:sldMk cId="1834866407" sldId="1226"/>
        </pc:sldMkLst>
      </pc:sldChg>
      <pc:sldChg chg="ord">
        <pc:chgData name="Parol, Dariusz" userId="cc06662d-a6b4-4211-9222-1a2bd36ad8d6" providerId="ADAL" clId="{17362161-A2B9-42C8-8DE2-2BD3D21808C9}" dt="2023-12-01T11:49:48.053" v="27"/>
        <pc:sldMkLst>
          <pc:docMk/>
          <pc:sldMk cId="2670694553" sldId="1236"/>
        </pc:sldMkLst>
      </pc:sldChg>
      <pc:sldChg chg="modSp mod">
        <pc:chgData name="Parol, Dariusz" userId="cc06662d-a6b4-4211-9222-1a2bd36ad8d6" providerId="ADAL" clId="{17362161-A2B9-42C8-8DE2-2BD3D21808C9}" dt="2023-11-15T08:23:12.707" v="12" actId="20577"/>
        <pc:sldMkLst>
          <pc:docMk/>
          <pc:sldMk cId="1241472327" sldId="1247"/>
        </pc:sldMkLst>
        <pc:spChg chg="mod">
          <ac:chgData name="Parol, Dariusz" userId="cc06662d-a6b4-4211-9222-1a2bd36ad8d6" providerId="ADAL" clId="{17362161-A2B9-42C8-8DE2-2BD3D21808C9}" dt="2023-11-15T08:23:12.707" v="12" actId="20577"/>
          <ac:spMkLst>
            <pc:docMk/>
            <pc:sldMk cId="1241472327" sldId="1247"/>
            <ac:spMk id="3" creationId="{24306D85-71DB-A43C-EE9F-A05E2C3B843E}"/>
          </ac:spMkLst>
        </pc:spChg>
      </pc:sldChg>
      <pc:sldChg chg="del mod modShow">
        <pc:chgData name="Parol, Dariusz" userId="cc06662d-a6b4-4211-9222-1a2bd36ad8d6" providerId="ADAL" clId="{17362161-A2B9-42C8-8DE2-2BD3D21808C9}" dt="2023-12-13T09:04:58.374" v="43" actId="47"/>
        <pc:sldMkLst>
          <pc:docMk/>
          <pc:sldMk cId="3423287306" sldId="1257"/>
        </pc:sldMkLst>
      </pc:sldChg>
      <pc:sldChg chg="del">
        <pc:chgData name="Parol, Dariusz" userId="cc06662d-a6b4-4211-9222-1a2bd36ad8d6" providerId="ADAL" clId="{17362161-A2B9-42C8-8DE2-2BD3D21808C9}" dt="2023-10-26T13:42:02.952" v="0" actId="47"/>
        <pc:sldMkLst>
          <pc:docMk/>
          <pc:sldMk cId="526409754" sldId="1264"/>
        </pc:sldMkLst>
      </pc:sldChg>
      <pc:sldChg chg="modSp mod">
        <pc:chgData name="Parol, Dariusz" userId="cc06662d-a6b4-4211-9222-1a2bd36ad8d6" providerId="ADAL" clId="{17362161-A2B9-42C8-8DE2-2BD3D21808C9}" dt="2023-12-11T14:50:36.348" v="34" actId="207"/>
        <pc:sldMkLst>
          <pc:docMk/>
          <pc:sldMk cId="101552678" sldId="1270"/>
        </pc:sldMkLst>
        <pc:spChg chg="mod">
          <ac:chgData name="Parol, Dariusz" userId="cc06662d-a6b4-4211-9222-1a2bd36ad8d6" providerId="ADAL" clId="{17362161-A2B9-42C8-8DE2-2BD3D21808C9}" dt="2023-12-11T14:50:36.348" v="34" actId="207"/>
          <ac:spMkLst>
            <pc:docMk/>
            <pc:sldMk cId="101552678" sldId="1270"/>
            <ac:spMk id="5" creationId="{731985F1-A854-FF0C-23C8-8306F6E942BE}"/>
          </ac:spMkLst>
        </pc:spChg>
      </pc:sldChg>
      <pc:sldChg chg="modSp mod">
        <pc:chgData name="Parol, Dariusz" userId="cc06662d-a6b4-4211-9222-1a2bd36ad8d6" providerId="ADAL" clId="{17362161-A2B9-42C8-8DE2-2BD3D21808C9}" dt="2023-12-01T08:42:29.423" v="25" actId="20577"/>
        <pc:sldMkLst>
          <pc:docMk/>
          <pc:sldMk cId="1396022359" sldId="1282"/>
        </pc:sldMkLst>
        <pc:spChg chg="mod">
          <ac:chgData name="Parol, Dariusz" userId="cc06662d-a6b4-4211-9222-1a2bd36ad8d6" providerId="ADAL" clId="{17362161-A2B9-42C8-8DE2-2BD3D21808C9}" dt="2023-12-01T08:42:29.423" v="25" actId="20577"/>
          <ac:spMkLst>
            <pc:docMk/>
            <pc:sldMk cId="1396022359" sldId="1282"/>
            <ac:spMk id="2" creationId="{911674FA-AAB1-290E-AC82-CA87E6310AA5}"/>
          </ac:spMkLst>
        </pc:spChg>
        <pc:spChg chg="mod">
          <ac:chgData name="Parol, Dariusz" userId="cc06662d-a6b4-4211-9222-1a2bd36ad8d6" providerId="ADAL" clId="{17362161-A2B9-42C8-8DE2-2BD3D21808C9}" dt="2023-12-01T08:42:18.837" v="23" actId="20577"/>
          <ac:spMkLst>
            <pc:docMk/>
            <pc:sldMk cId="1396022359" sldId="1282"/>
            <ac:spMk id="5" creationId="{731985F1-A854-FF0C-23C8-8306F6E942BE}"/>
          </ac:spMkLst>
        </pc:spChg>
      </pc:sldChg>
      <pc:sldChg chg="del mod modShow">
        <pc:chgData name="Parol, Dariusz" userId="cc06662d-a6b4-4211-9222-1a2bd36ad8d6" providerId="ADAL" clId="{17362161-A2B9-42C8-8DE2-2BD3D21808C9}" dt="2023-12-13T09:02:03.141" v="42" actId="47"/>
        <pc:sldMkLst>
          <pc:docMk/>
          <pc:sldMk cId="679050188" sldId="1284"/>
        </pc:sldMkLst>
      </pc:sldChg>
      <pc:sldChg chg="del">
        <pc:chgData name="Parol, Dariusz" userId="cc06662d-a6b4-4211-9222-1a2bd36ad8d6" providerId="ADAL" clId="{17362161-A2B9-42C8-8DE2-2BD3D21808C9}" dt="2023-12-13T09:00:51.307" v="41" actId="47"/>
        <pc:sldMkLst>
          <pc:docMk/>
          <pc:sldMk cId="3799505985" sldId="1305"/>
        </pc:sldMkLst>
      </pc:sldChg>
      <pc:sldChg chg="del mod modShow">
        <pc:chgData name="Parol, Dariusz" userId="cc06662d-a6b4-4211-9222-1a2bd36ad8d6" providerId="ADAL" clId="{17362161-A2B9-42C8-8DE2-2BD3D21808C9}" dt="2023-12-05T19:26:30.815" v="28" actId="47"/>
        <pc:sldMkLst>
          <pc:docMk/>
          <pc:sldMk cId="4056503120" sldId="1338"/>
        </pc:sldMkLst>
      </pc:sldChg>
      <pc:sldChg chg="modSp mod">
        <pc:chgData name="Parol, Dariusz" userId="cc06662d-a6b4-4211-9222-1a2bd36ad8d6" providerId="ADAL" clId="{17362161-A2B9-42C8-8DE2-2BD3D21808C9}" dt="2023-12-11T14:51:11.030" v="38" actId="6549"/>
        <pc:sldMkLst>
          <pc:docMk/>
          <pc:sldMk cId="1949626962" sldId="1349"/>
        </pc:sldMkLst>
        <pc:spChg chg="mod">
          <ac:chgData name="Parol, Dariusz" userId="cc06662d-a6b4-4211-9222-1a2bd36ad8d6" providerId="ADAL" clId="{17362161-A2B9-42C8-8DE2-2BD3D21808C9}" dt="2023-12-11T11:51:32.762" v="32" actId="2711"/>
          <ac:spMkLst>
            <pc:docMk/>
            <pc:sldMk cId="1949626962" sldId="1349"/>
            <ac:spMk id="2" creationId="{907A6792-CD02-599B-4146-7772C73B01E3}"/>
          </ac:spMkLst>
        </pc:spChg>
        <pc:spChg chg="mod">
          <ac:chgData name="Parol, Dariusz" userId="cc06662d-a6b4-4211-9222-1a2bd36ad8d6" providerId="ADAL" clId="{17362161-A2B9-42C8-8DE2-2BD3D21808C9}" dt="2023-12-11T14:51:11.030" v="38" actId="6549"/>
          <ac:spMkLst>
            <pc:docMk/>
            <pc:sldMk cId="1949626962" sldId="1349"/>
            <ac:spMk id="13" creationId="{0CA59ECB-AF25-9F0B-5478-3A1BF0E5855B}"/>
          </ac:spMkLst>
        </pc:spChg>
      </pc:sldChg>
      <pc:sldChg chg="ord">
        <pc:chgData name="Parol, Dariusz" userId="cc06662d-a6b4-4211-9222-1a2bd36ad8d6" providerId="ADAL" clId="{17362161-A2B9-42C8-8DE2-2BD3D21808C9}" dt="2023-12-05T19:56:22.089" v="30"/>
        <pc:sldMkLst>
          <pc:docMk/>
          <pc:sldMk cId="4110471149" sldId="1354"/>
        </pc:sldMkLst>
      </pc:sldChg>
      <pc:sldChg chg="delSp mod">
        <pc:chgData name="Parol, Dariusz" userId="cc06662d-a6b4-4211-9222-1a2bd36ad8d6" providerId="ADAL" clId="{17362161-A2B9-42C8-8DE2-2BD3D21808C9}" dt="2023-12-08T11:57:35.118" v="31" actId="478"/>
        <pc:sldMkLst>
          <pc:docMk/>
          <pc:sldMk cId="4109088728" sldId="1355"/>
        </pc:sldMkLst>
        <pc:spChg chg="del">
          <ac:chgData name="Parol, Dariusz" userId="cc06662d-a6b4-4211-9222-1a2bd36ad8d6" providerId="ADAL" clId="{17362161-A2B9-42C8-8DE2-2BD3D21808C9}" dt="2023-12-08T11:57:35.118" v="31" actId="478"/>
          <ac:spMkLst>
            <pc:docMk/>
            <pc:sldMk cId="4109088728" sldId="1355"/>
            <ac:spMk id="5" creationId="{C6F95AB1-7890-A62F-A9BE-149AFC2D5243}"/>
          </ac:spMkLst>
        </pc:spChg>
      </pc:sldChg>
      <pc:sldChg chg="ord">
        <pc:chgData name="Parol, Dariusz" userId="cc06662d-a6b4-4211-9222-1a2bd36ad8d6" providerId="ADAL" clId="{17362161-A2B9-42C8-8DE2-2BD3D21808C9}" dt="2023-12-13T09:00:22.383" v="40"/>
        <pc:sldMkLst>
          <pc:docMk/>
          <pc:sldMk cId="3069348681" sldId="1356"/>
        </pc:sldMkLst>
      </pc:sldChg>
    </pc:docChg>
  </pc:docChgLst>
  <pc:docChgLst>
    <pc:chgData name="Gortych, Damian" userId="S::damian.gortych@accenture.com::b8f47322-7dd0-4de6-893a-0dd5c843a08f" providerId="AD" clId="Web-{91579E37-F8F2-4708-9558-8A37341F9481}"/>
    <pc:docChg chg="modSld">
      <pc:chgData name="Gortych, Damian" userId="S::damian.gortych@accenture.com::b8f47322-7dd0-4de6-893a-0dd5c843a08f" providerId="AD" clId="Web-{91579E37-F8F2-4708-9558-8A37341F9481}" dt="2024-03-06T16:59:42.162" v="883" actId="20577"/>
      <pc:docMkLst>
        <pc:docMk/>
      </pc:docMkLst>
      <pc:sldChg chg="modSp">
        <pc:chgData name="Gortych, Damian" userId="S::damian.gortych@accenture.com::b8f47322-7dd0-4de6-893a-0dd5c843a08f" providerId="AD" clId="Web-{91579E37-F8F2-4708-9558-8A37341F9481}" dt="2024-03-06T16:59:42.162" v="883" actId="20577"/>
        <pc:sldMkLst>
          <pc:docMk/>
          <pc:sldMk cId="2847091332" sldId="1368"/>
        </pc:sldMkLst>
        <pc:spChg chg="mod">
          <ac:chgData name="Gortych, Damian" userId="S::damian.gortych@accenture.com::b8f47322-7dd0-4de6-893a-0dd5c843a08f" providerId="AD" clId="Web-{91579E37-F8F2-4708-9558-8A37341F9481}" dt="2024-03-06T16:18:18.905" v="35" actId="20577"/>
          <ac:spMkLst>
            <pc:docMk/>
            <pc:sldMk cId="2847091332" sldId="1368"/>
            <ac:spMk id="2" creationId="{B1B30B32-CD37-0E04-C6E3-83A31BB57983}"/>
          </ac:spMkLst>
        </pc:spChg>
        <pc:spChg chg="mod">
          <ac:chgData name="Gortych, Damian" userId="S::damian.gortych@accenture.com::b8f47322-7dd0-4de6-893a-0dd5c843a08f" providerId="AD" clId="Web-{91579E37-F8F2-4708-9558-8A37341F9481}" dt="2024-03-06T16:18:59.594" v="49" actId="20577"/>
          <ac:spMkLst>
            <pc:docMk/>
            <pc:sldMk cId="2847091332" sldId="1368"/>
            <ac:spMk id="3" creationId="{6EB5865F-1DB2-9704-D13D-FFBC0190B5DD}"/>
          </ac:spMkLst>
        </pc:spChg>
        <pc:spChg chg="mod">
          <ac:chgData name="Gortych, Damian" userId="S::damian.gortych@accenture.com::b8f47322-7dd0-4de6-893a-0dd5c843a08f" providerId="AD" clId="Web-{91579E37-F8F2-4708-9558-8A37341F9481}" dt="2024-03-06T16:59:42.162" v="883" actId="20577"/>
          <ac:spMkLst>
            <pc:docMk/>
            <pc:sldMk cId="2847091332" sldId="1368"/>
            <ac:spMk id="10" creationId="{92312F48-4315-33D6-19FE-C7D670F14066}"/>
          </ac:spMkLst>
        </pc:spChg>
      </pc:sldChg>
    </pc:docChg>
  </pc:docChgLst>
  <pc:docChgLst>
    <pc:chgData name="Michniewicz, Jurek" userId="853766dd-3d50-440a-af51-df06b62bb102" providerId="ADAL" clId="{7C61ADBA-6307-4ECE-89A2-66218901B981}"/>
    <pc:docChg chg="undo redo custSel addSld delSld modSld modSection">
      <pc:chgData name="Michniewicz, Jurek" userId="853766dd-3d50-440a-af51-df06b62bb102" providerId="ADAL" clId="{7C61ADBA-6307-4ECE-89A2-66218901B981}" dt="2023-12-11T15:25:10.014" v="2782" actId="255"/>
      <pc:docMkLst>
        <pc:docMk/>
      </pc:docMkLst>
      <pc:sldChg chg="modSp mod">
        <pc:chgData name="Michniewicz, Jurek" userId="853766dd-3d50-440a-af51-df06b62bb102" providerId="ADAL" clId="{7C61ADBA-6307-4ECE-89A2-66218901B981}" dt="2023-12-11T15:25:10.014" v="2782" actId="255"/>
        <pc:sldMkLst>
          <pc:docMk/>
          <pc:sldMk cId="2401991601" sldId="1332"/>
        </pc:sldMkLst>
        <pc:spChg chg="mod">
          <ac:chgData name="Michniewicz, Jurek" userId="853766dd-3d50-440a-af51-df06b62bb102" providerId="ADAL" clId="{7C61ADBA-6307-4ECE-89A2-66218901B981}" dt="2023-12-11T15:16:14.938" v="2280" actId="20577"/>
          <ac:spMkLst>
            <pc:docMk/>
            <pc:sldMk cId="2401991601" sldId="1332"/>
            <ac:spMk id="2" creationId="{911674FA-AAB1-290E-AC82-CA87E6310AA5}"/>
          </ac:spMkLst>
        </pc:spChg>
        <pc:spChg chg="mod">
          <ac:chgData name="Michniewicz, Jurek" userId="853766dd-3d50-440a-af51-df06b62bb102" providerId="ADAL" clId="{7C61ADBA-6307-4ECE-89A2-66218901B981}" dt="2023-11-06T12:46:05.881" v="969" actId="1076"/>
          <ac:spMkLst>
            <pc:docMk/>
            <pc:sldMk cId="2401991601" sldId="1332"/>
            <ac:spMk id="4" creationId="{6F381516-F3F1-5803-258D-A281CE214469}"/>
          </ac:spMkLst>
        </pc:spChg>
        <pc:spChg chg="mod">
          <ac:chgData name="Michniewicz, Jurek" userId="853766dd-3d50-440a-af51-df06b62bb102" providerId="ADAL" clId="{7C61ADBA-6307-4ECE-89A2-66218901B981}" dt="2023-11-30T12:48:38.726" v="1210" actId="20577"/>
          <ac:spMkLst>
            <pc:docMk/>
            <pc:sldMk cId="2401991601" sldId="1332"/>
            <ac:spMk id="7" creationId="{96CAE378-94B4-0269-C4D1-EBD2C607BCC3}"/>
          </ac:spMkLst>
        </pc:spChg>
        <pc:spChg chg="mod">
          <ac:chgData name="Michniewicz, Jurek" userId="853766dd-3d50-440a-af51-df06b62bb102" providerId="ADAL" clId="{7C61ADBA-6307-4ECE-89A2-66218901B981}" dt="2023-11-06T11:12:25.911" v="730" actId="20577"/>
          <ac:spMkLst>
            <pc:docMk/>
            <pc:sldMk cId="2401991601" sldId="1332"/>
            <ac:spMk id="8" creationId="{A9D0EDE1-319C-F7C6-A99B-9FCF1CAD96E2}"/>
          </ac:spMkLst>
        </pc:spChg>
        <pc:spChg chg="mod">
          <ac:chgData name="Michniewicz, Jurek" userId="853766dd-3d50-440a-af51-df06b62bb102" providerId="ADAL" clId="{7C61ADBA-6307-4ECE-89A2-66218901B981}" dt="2023-12-11T15:25:10.014" v="2782" actId="255"/>
          <ac:spMkLst>
            <pc:docMk/>
            <pc:sldMk cId="2401991601" sldId="1332"/>
            <ac:spMk id="10" creationId="{68D47195-2257-27FD-9554-F23924FA4345}"/>
          </ac:spMkLst>
        </pc:spChg>
        <pc:spChg chg="mod">
          <ac:chgData name="Michniewicz, Jurek" userId="853766dd-3d50-440a-af51-df06b62bb102" providerId="ADAL" clId="{7C61ADBA-6307-4ECE-89A2-66218901B981}" dt="2023-11-30T12:49:47.479" v="1262" actId="20577"/>
          <ac:spMkLst>
            <pc:docMk/>
            <pc:sldMk cId="2401991601" sldId="1332"/>
            <ac:spMk id="11" creationId="{DDC5328D-E260-348A-7DAB-C73DB4DD298A}"/>
          </ac:spMkLst>
        </pc:spChg>
      </pc:sldChg>
      <pc:sldChg chg="new del">
        <pc:chgData name="Michniewicz, Jurek" userId="853766dd-3d50-440a-af51-df06b62bb102" providerId="ADAL" clId="{7C61ADBA-6307-4ECE-89A2-66218901B981}" dt="2023-11-30T13:01:23.127" v="1554" actId="47"/>
        <pc:sldMkLst>
          <pc:docMk/>
          <pc:sldMk cId="1236744992" sldId="1358"/>
        </pc:sldMkLst>
      </pc:sldChg>
      <pc:sldChg chg="new del">
        <pc:chgData name="Michniewicz, Jurek" userId="853766dd-3d50-440a-af51-df06b62bb102" providerId="ADAL" clId="{7C61ADBA-6307-4ECE-89A2-66218901B981}" dt="2023-11-30T13:01:21.146" v="1553" actId="680"/>
        <pc:sldMkLst>
          <pc:docMk/>
          <pc:sldMk cId="2337051777" sldId="1359"/>
        </pc:sldMkLst>
      </pc:sldChg>
    </pc:docChg>
  </pc:docChgLst>
  <pc:docChgLst>
    <pc:chgData name="Surdacki, Lukasz" userId="S::lukasz.surdacki@accenture.com::ce123e74-4454-46c1-bb0c-668acd036729" providerId="AD" clId="Web-{593F45BF-9FC6-5DD5-19F7-CF9349AAA4FB}"/>
    <pc:docChg chg="modSld">
      <pc:chgData name="Surdacki, Lukasz" userId="S::lukasz.surdacki@accenture.com::ce123e74-4454-46c1-bb0c-668acd036729" providerId="AD" clId="Web-{593F45BF-9FC6-5DD5-19F7-CF9349AAA4FB}" dt="2024-03-22T08:14:16.396" v="318" actId="20577"/>
      <pc:docMkLst>
        <pc:docMk/>
      </pc:docMkLst>
      <pc:sldChg chg="modSp">
        <pc:chgData name="Surdacki, Lukasz" userId="S::lukasz.surdacki@accenture.com::ce123e74-4454-46c1-bb0c-668acd036729" providerId="AD" clId="Web-{593F45BF-9FC6-5DD5-19F7-CF9349AAA4FB}" dt="2024-03-22T08:14:16.396" v="318" actId="20577"/>
        <pc:sldMkLst>
          <pc:docMk/>
          <pc:sldMk cId="539776704" sldId="1302"/>
        </pc:sldMkLst>
        <pc:spChg chg="mod">
          <ac:chgData name="Surdacki, Lukasz" userId="S::lukasz.surdacki@accenture.com::ce123e74-4454-46c1-bb0c-668acd036729" providerId="AD" clId="Web-{593F45BF-9FC6-5DD5-19F7-CF9349AAA4FB}" dt="2024-03-22T08:14:16.396" v="318" actId="20577"/>
          <ac:spMkLst>
            <pc:docMk/>
            <pc:sldMk cId="539776704" sldId="1302"/>
            <ac:spMk id="8" creationId="{A9D0EDE1-319C-F7C6-A99B-9FCF1CAD96E2}"/>
          </ac:spMkLst>
        </pc:spChg>
        <pc:spChg chg="mod">
          <ac:chgData name="Surdacki, Lukasz" userId="S::lukasz.surdacki@accenture.com::ce123e74-4454-46c1-bb0c-668acd036729" providerId="AD" clId="Web-{593F45BF-9FC6-5DD5-19F7-CF9349AAA4FB}" dt="2024-03-22T08:13:32.754" v="298" actId="20577"/>
          <ac:spMkLst>
            <pc:docMk/>
            <pc:sldMk cId="539776704" sldId="1302"/>
            <ac:spMk id="10" creationId="{68D47195-2257-27FD-9554-F23924FA4345}"/>
          </ac:spMkLst>
        </pc:spChg>
      </pc:sldChg>
    </pc:docChg>
  </pc:docChgLst>
  <pc:docChgLst>
    <pc:chgData name="Stachowiak, Dominika" userId="639d990e-5485-4762-bf74-896351a523fb" providerId="ADAL" clId="{DBD463A4-1DF8-45D7-B9BE-21A6E2323966}"/>
    <pc:docChg chg="custSel modSld">
      <pc:chgData name="Stachowiak, Dominika" userId="639d990e-5485-4762-bf74-896351a523fb" providerId="ADAL" clId="{DBD463A4-1DF8-45D7-B9BE-21A6E2323966}" dt="2024-01-26T10:30:51.455" v="67" actId="20577"/>
      <pc:docMkLst>
        <pc:docMk/>
      </pc:docMkLst>
      <pc:sldChg chg="modSp mod">
        <pc:chgData name="Stachowiak, Dominika" userId="639d990e-5485-4762-bf74-896351a523fb" providerId="ADAL" clId="{DBD463A4-1DF8-45D7-B9BE-21A6E2323966}" dt="2024-01-26T10:30:51.455" v="67" actId="20577"/>
        <pc:sldMkLst>
          <pc:docMk/>
          <pc:sldMk cId="548016973" sldId="1334"/>
        </pc:sldMkLst>
        <pc:spChg chg="mod">
          <ac:chgData name="Stachowiak, Dominika" userId="639d990e-5485-4762-bf74-896351a523fb" providerId="ADAL" clId="{DBD463A4-1DF8-45D7-B9BE-21A6E2323966}" dt="2024-01-26T10:30:51.455" v="67" actId="20577"/>
          <ac:spMkLst>
            <pc:docMk/>
            <pc:sldMk cId="548016973" sldId="1334"/>
            <ac:spMk id="3" creationId="{DCFD345E-4365-A305-FDD0-59C2DEC7F263}"/>
          </ac:spMkLst>
        </pc:spChg>
        <pc:spChg chg="mod">
          <ac:chgData name="Stachowiak, Dominika" userId="639d990e-5485-4762-bf74-896351a523fb" providerId="ADAL" clId="{DBD463A4-1DF8-45D7-B9BE-21A6E2323966}" dt="2024-01-26T10:30:34.236" v="59" actId="108"/>
          <ac:spMkLst>
            <pc:docMk/>
            <pc:sldMk cId="548016973" sldId="1334"/>
            <ac:spMk id="10" creationId="{A004E5B0-E7EC-3413-16FD-505F7871D475}"/>
          </ac:spMkLst>
        </pc:spChg>
      </pc:sldChg>
    </pc:docChg>
  </pc:docChgLst>
  <pc:docChgLst>
    <pc:chgData name="Manchakadavath, Akshay" userId="S::a.manchakadavath@accenture.com::38a8ba32-d3a3-4341-a008-894f102ded66" providerId="AD" clId="Web-{2ACDAAD4-B062-ABFD-D000-BD5A4D03B2E8}"/>
    <pc:docChg chg="modSld">
      <pc:chgData name="Manchakadavath, Akshay" userId="S::a.manchakadavath@accenture.com::38a8ba32-d3a3-4341-a008-894f102ded66" providerId="AD" clId="Web-{2ACDAAD4-B062-ABFD-D000-BD5A4D03B2E8}" dt="2024-03-22T11:06:12.373" v="236" actId="20577"/>
      <pc:docMkLst>
        <pc:docMk/>
      </pc:docMkLst>
      <pc:sldChg chg="modSp">
        <pc:chgData name="Manchakadavath, Akshay" userId="S::a.manchakadavath@accenture.com::38a8ba32-d3a3-4341-a008-894f102ded66" providerId="AD" clId="Web-{2ACDAAD4-B062-ABFD-D000-BD5A4D03B2E8}" dt="2024-03-22T11:06:12.373" v="236" actId="20577"/>
        <pc:sldMkLst>
          <pc:docMk/>
          <pc:sldMk cId="2654585378" sldId="1331"/>
        </pc:sldMkLst>
        <pc:spChg chg="mod">
          <ac:chgData name="Manchakadavath, Akshay" userId="S::a.manchakadavath@accenture.com::38a8ba32-d3a3-4341-a008-894f102ded66" providerId="AD" clId="Web-{2ACDAAD4-B062-ABFD-D000-BD5A4D03B2E8}" dt="2024-03-22T10:24:05.605" v="0" actId="14100"/>
          <ac:spMkLst>
            <pc:docMk/>
            <pc:sldMk cId="2654585378" sldId="1331"/>
            <ac:spMk id="7" creationId="{96CAE378-94B4-0269-C4D1-EBD2C607BCC3}"/>
          </ac:spMkLst>
        </pc:spChg>
        <pc:spChg chg="mod">
          <ac:chgData name="Manchakadavath, Akshay" userId="S::a.manchakadavath@accenture.com::38a8ba32-d3a3-4341-a008-894f102ded66" providerId="AD" clId="Web-{2ACDAAD4-B062-ABFD-D000-BD5A4D03B2E8}" dt="2024-03-22T11:06:12.373" v="236" actId="20577"/>
          <ac:spMkLst>
            <pc:docMk/>
            <pc:sldMk cId="2654585378" sldId="1331"/>
            <ac:spMk id="8" creationId="{A9D0EDE1-319C-F7C6-A99B-9FCF1CAD96E2}"/>
          </ac:spMkLst>
        </pc:spChg>
        <pc:spChg chg="mod">
          <ac:chgData name="Manchakadavath, Akshay" userId="S::a.manchakadavath@accenture.com::38a8ba32-d3a3-4341-a008-894f102ded66" providerId="AD" clId="Web-{2ACDAAD4-B062-ABFD-D000-BD5A4D03B2E8}" dt="2024-03-22T11:01:58.175" v="183" actId="1076"/>
          <ac:spMkLst>
            <pc:docMk/>
            <pc:sldMk cId="2654585378" sldId="1331"/>
            <ac:spMk id="10" creationId="{68D47195-2257-27FD-9554-F23924FA4345}"/>
          </ac:spMkLst>
        </pc:spChg>
      </pc:sldChg>
    </pc:docChg>
  </pc:docChgLst>
  <pc:docChgLst>
    <pc:chgData name="Kuzniak, Kamil" userId="bbfe1908-2f44-45b3-bc30-58cde9b45b2e" providerId="ADAL" clId="{AA0360ED-DC79-4A91-98ED-F73866D6AD6A}"/>
    <pc:docChg chg="custSel modSld">
      <pc:chgData name="Kuzniak, Kamil" userId="bbfe1908-2f44-45b3-bc30-58cde9b45b2e" providerId="ADAL" clId="{AA0360ED-DC79-4A91-98ED-F73866D6AD6A}" dt="2024-03-20T08:39:55.861" v="2089" actId="27636"/>
      <pc:docMkLst>
        <pc:docMk/>
      </pc:docMkLst>
      <pc:sldChg chg="modSp mod">
        <pc:chgData name="Kuzniak, Kamil" userId="bbfe1908-2f44-45b3-bc30-58cde9b45b2e" providerId="ADAL" clId="{AA0360ED-DC79-4A91-98ED-F73866D6AD6A}" dt="2024-01-24T15:31:14.457" v="1612" actId="27636"/>
        <pc:sldMkLst>
          <pc:docMk/>
          <pc:sldMk cId="1733477518" sldId="1252"/>
        </pc:sldMkLst>
        <pc:spChg chg="mod">
          <ac:chgData name="Kuzniak, Kamil" userId="bbfe1908-2f44-45b3-bc30-58cde9b45b2e" providerId="ADAL" clId="{AA0360ED-DC79-4A91-98ED-F73866D6AD6A}" dt="2024-01-24T15:31:14.457" v="1612" actId="27636"/>
          <ac:spMkLst>
            <pc:docMk/>
            <pc:sldMk cId="1733477518" sldId="1252"/>
            <ac:spMk id="10" creationId="{68D47195-2257-27FD-9554-F23924FA4345}"/>
          </ac:spMkLst>
        </pc:spChg>
      </pc:sldChg>
      <pc:sldChg chg="modSp mod">
        <pc:chgData name="Kuzniak, Kamil" userId="bbfe1908-2f44-45b3-bc30-58cde9b45b2e" providerId="ADAL" clId="{AA0360ED-DC79-4A91-98ED-F73866D6AD6A}" dt="2024-03-18T11:03:50.559" v="2029" actId="20577"/>
        <pc:sldMkLst>
          <pc:docMk/>
          <pc:sldMk cId="3520058925" sldId="1262"/>
        </pc:sldMkLst>
        <pc:spChg chg="mod">
          <ac:chgData name="Kuzniak, Kamil" userId="bbfe1908-2f44-45b3-bc30-58cde9b45b2e" providerId="ADAL" clId="{AA0360ED-DC79-4A91-98ED-F73866D6AD6A}" dt="2024-01-08T15:39:32.655" v="588" actId="20577"/>
          <ac:spMkLst>
            <pc:docMk/>
            <pc:sldMk cId="3520058925" sldId="1262"/>
            <ac:spMk id="2" creationId="{911674FA-AAB1-290E-AC82-CA87E6310AA5}"/>
          </ac:spMkLst>
        </pc:spChg>
        <pc:spChg chg="mod">
          <ac:chgData name="Kuzniak, Kamil" userId="bbfe1908-2f44-45b3-bc30-58cde9b45b2e" providerId="ADAL" clId="{AA0360ED-DC79-4A91-98ED-F73866D6AD6A}" dt="2024-01-08T15:40:53.745" v="597" actId="20577"/>
          <ac:spMkLst>
            <pc:docMk/>
            <pc:sldMk cId="3520058925" sldId="1262"/>
            <ac:spMk id="7" creationId="{96CAE378-94B4-0269-C4D1-EBD2C607BCC3}"/>
          </ac:spMkLst>
        </pc:spChg>
        <pc:spChg chg="mod">
          <ac:chgData name="Kuzniak, Kamil" userId="bbfe1908-2f44-45b3-bc30-58cde9b45b2e" providerId="ADAL" clId="{AA0360ED-DC79-4A91-98ED-F73866D6AD6A}" dt="2024-01-15T10:50:23.166" v="961" actId="20577"/>
          <ac:spMkLst>
            <pc:docMk/>
            <pc:sldMk cId="3520058925" sldId="1262"/>
            <ac:spMk id="8" creationId="{A9D0EDE1-319C-F7C6-A99B-9FCF1CAD96E2}"/>
          </ac:spMkLst>
        </pc:spChg>
        <pc:spChg chg="mod">
          <ac:chgData name="Kuzniak, Kamil" userId="bbfe1908-2f44-45b3-bc30-58cde9b45b2e" providerId="ADAL" clId="{AA0360ED-DC79-4A91-98ED-F73866D6AD6A}" dt="2024-03-18T11:03:50.559" v="2029" actId="20577"/>
          <ac:spMkLst>
            <pc:docMk/>
            <pc:sldMk cId="3520058925" sldId="1262"/>
            <ac:spMk id="10" creationId="{68D47195-2257-27FD-9554-F23924FA4345}"/>
          </ac:spMkLst>
        </pc:spChg>
      </pc:sldChg>
      <pc:sldChg chg="modSp mod">
        <pc:chgData name="Kuzniak, Kamil" userId="bbfe1908-2f44-45b3-bc30-58cde9b45b2e" providerId="ADAL" clId="{AA0360ED-DC79-4A91-98ED-F73866D6AD6A}" dt="2024-03-20T08:39:55.861" v="2089" actId="27636"/>
        <pc:sldMkLst>
          <pc:docMk/>
          <pc:sldMk cId="3706624102" sldId="1322"/>
        </pc:sldMkLst>
        <pc:spChg chg="mod">
          <ac:chgData name="Kuzniak, Kamil" userId="bbfe1908-2f44-45b3-bc30-58cde9b45b2e" providerId="ADAL" clId="{AA0360ED-DC79-4A91-98ED-F73866D6AD6A}" dt="2024-03-20T08:39:55.861" v="2089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Kuzniak, Kamil" userId="bbfe1908-2f44-45b3-bc30-58cde9b45b2e" providerId="ADAL" clId="{AA0360ED-DC79-4A91-98ED-F73866D6AD6A}" dt="2024-03-20T08:39:55.771" v="2087" actId="27636"/>
        <pc:sldMkLst>
          <pc:docMk/>
          <pc:sldMk cId="3967085744" sldId="1347"/>
        </pc:sldMkLst>
        <pc:spChg chg="mod">
          <ac:chgData name="Kuzniak, Kamil" userId="bbfe1908-2f44-45b3-bc30-58cde9b45b2e" providerId="ADAL" clId="{AA0360ED-DC79-4A91-98ED-F73866D6AD6A}" dt="2024-03-20T08:39:55.757" v="2086" actId="27636"/>
          <ac:spMkLst>
            <pc:docMk/>
            <pc:sldMk cId="3967085744" sldId="1347"/>
            <ac:spMk id="2" creationId="{907A6792-CD02-599B-4146-7772C73B01E3}"/>
          </ac:spMkLst>
        </pc:spChg>
        <pc:spChg chg="mod">
          <ac:chgData name="Kuzniak, Kamil" userId="bbfe1908-2f44-45b3-bc30-58cde9b45b2e" providerId="ADAL" clId="{AA0360ED-DC79-4A91-98ED-F73866D6AD6A}" dt="2024-03-20T08:39:55.771" v="2087" actId="27636"/>
          <ac:spMkLst>
            <pc:docMk/>
            <pc:sldMk cId="3967085744" sldId="1347"/>
            <ac:spMk id="7" creationId="{83D1AB77-327B-D8C5-CF7B-688095FA023A}"/>
          </ac:spMkLst>
        </pc:spChg>
      </pc:sldChg>
      <pc:sldChg chg="modSp mod">
        <pc:chgData name="Kuzniak, Kamil" userId="bbfe1908-2f44-45b3-bc30-58cde9b45b2e" providerId="ADAL" clId="{AA0360ED-DC79-4A91-98ED-F73866D6AD6A}" dt="2024-03-20T08:39:55.721" v="2085" actId="27636"/>
        <pc:sldMkLst>
          <pc:docMk/>
          <pc:sldMk cId="1949626962" sldId="1349"/>
        </pc:sldMkLst>
        <pc:spChg chg="mod">
          <ac:chgData name="Kuzniak, Kamil" userId="bbfe1908-2f44-45b3-bc30-58cde9b45b2e" providerId="ADAL" clId="{AA0360ED-DC79-4A91-98ED-F73866D6AD6A}" dt="2024-03-20T08:39:55.721" v="2085" actId="27636"/>
          <ac:spMkLst>
            <pc:docMk/>
            <pc:sldMk cId="1949626962" sldId="1349"/>
            <ac:spMk id="2" creationId="{907A6792-CD02-599B-4146-7772C73B01E3}"/>
          </ac:spMkLst>
        </pc:spChg>
        <pc:spChg chg="mod">
          <ac:chgData name="Kuzniak, Kamil" userId="bbfe1908-2f44-45b3-bc30-58cde9b45b2e" providerId="ADAL" clId="{AA0360ED-DC79-4A91-98ED-F73866D6AD6A}" dt="2024-01-24T15:31:13.791" v="1606" actId="27636"/>
          <ac:spMkLst>
            <pc:docMk/>
            <pc:sldMk cId="1949626962" sldId="1349"/>
            <ac:spMk id="8" creationId="{9CFFF608-5DCB-85A5-D2CF-77199B9A17D9}"/>
          </ac:spMkLst>
        </pc:spChg>
      </pc:sldChg>
      <pc:sldChg chg="modSp mod">
        <pc:chgData name="Kuzniak, Kamil" userId="bbfe1908-2f44-45b3-bc30-58cde9b45b2e" providerId="ADAL" clId="{AA0360ED-DC79-4A91-98ED-F73866D6AD6A}" dt="2024-03-20T08:39:55.823" v="2088" actId="27636"/>
        <pc:sldMkLst>
          <pc:docMk/>
          <pc:sldMk cId="628719752" sldId="1353"/>
        </pc:sldMkLst>
        <pc:spChg chg="mod">
          <ac:chgData name="Kuzniak, Kamil" userId="bbfe1908-2f44-45b3-bc30-58cde9b45b2e" providerId="ADAL" clId="{AA0360ED-DC79-4A91-98ED-F73866D6AD6A}" dt="2024-03-20T08:39:55.823" v="2088" actId="27636"/>
          <ac:spMkLst>
            <pc:docMk/>
            <pc:sldMk cId="628719752" sldId="1353"/>
            <ac:spMk id="7" creationId="{83D1AB77-327B-D8C5-CF7B-688095FA023A}"/>
          </ac:spMkLst>
        </pc:spChg>
      </pc:sldChg>
    </pc:docChg>
  </pc:docChgLst>
  <pc:docChgLst>
    <pc:chgData name="Kulinski, Adam" userId="S::adam.kulinski@accenture.com::25d82d3d-936e-42f2-a4ff-77c9a0234933" providerId="AD" clId="Web-{96B86926-2AAA-D777-DA6A-57AC34867AA9}"/>
    <pc:docChg chg="modSld">
      <pc:chgData name="Kulinski, Adam" userId="S::adam.kulinski@accenture.com::25d82d3d-936e-42f2-a4ff-77c9a0234933" providerId="AD" clId="Web-{96B86926-2AAA-D777-DA6A-57AC34867AA9}" dt="2024-04-04T12:35:38.308" v="6" actId="20577"/>
      <pc:docMkLst>
        <pc:docMk/>
      </pc:docMkLst>
      <pc:sldChg chg="modSp">
        <pc:chgData name="Kulinski, Adam" userId="S::adam.kulinski@accenture.com::25d82d3d-936e-42f2-a4ff-77c9a0234933" providerId="AD" clId="Web-{96B86926-2AAA-D777-DA6A-57AC34867AA9}" dt="2024-04-04T12:35:38.308" v="6" actId="20577"/>
        <pc:sldMkLst>
          <pc:docMk/>
          <pc:sldMk cId="967545864" sldId="1360"/>
        </pc:sldMkLst>
        <pc:spChg chg="mod">
          <ac:chgData name="Kulinski, Adam" userId="S::adam.kulinski@accenture.com::25d82d3d-936e-42f2-a4ff-77c9a0234933" providerId="AD" clId="Web-{96B86926-2AAA-D777-DA6A-57AC34867AA9}" dt="2024-04-04T12:35:38.308" v="6" actId="20577"/>
          <ac:spMkLst>
            <pc:docMk/>
            <pc:sldMk cId="967545864" sldId="1360"/>
            <ac:spMk id="2" creationId="{D1BDAE81-5210-487E-2053-A550675F318D}"/>
          </ac:spMkLst>
        </pc:spChg>
      </pc:sldChg>
    </pc:docChg>
  </pc:docChgLst>
  <pc:docChgLst>
    <pc:chgData name="Kostrzewa, Michalina" userId="S::michalina.kostrzewa@accenture.com::f9c8eaf7-e0fb-4f7f-b9c4-b9b96ac1f428" providerId="AD" clId="Web-{562514D4-CCAD-46DF-922F-7FC62B4A1D5E}"/>
    <pc:docChg chg="modSld">
      <pc:chgData name="Kostrzewa, Michalina" userId="S::michalina.kostrzewa@accenture.com::f9c8eaf7-e0fb-4f7f-b9c4-b9b96ac1f428" providerId="AD" clId="Web-{562514D4-CCAD-46DF-922F-7FC62B4A1D5E}" dt="2023-11-30T14:07:45.027" v="177" actId="20577"/>
      <pc:docMkLst>
        <pc:docMk/>
      </pc:docMkLst>
      <pc:sldChg chg="modSp">
        <pc:chgData name="Kostrzewa, Michalina" userId="S::michalina.kostrzewa@accenture.com::f9c8eaf7-e0fb-4f7f-b9c4-b9b96ac1f428" providerId="AD" clId="Web-{562514D4-CCAD-46DF-922F-7FC62B4A1D5E}" dt="2023-11-30T14:07:45.027" v="177" actId="20577"/>
        <pc:sldMkLst>
          <pc:docMk/>
          <pc:sldMk cId="3831383783" sldId="1352"/>
        </pc:sldMkLst>
        <pc:spChg chg="mod">
          <ac:chgData name="Kostrzewa, Michalina" userId="S::michalina.kostrzewa@accenture.com::f9c8eaf7-e0fb-4f7f-b9c4-b9b96ac1f428" providerId="AD" clId="Web-{562514D4-CCAD-46DF-922F-7FC62B4A1D5E}" dt="2023-11-30T14:07:45.027" v="177" actId="20577"/>
          <ac:spMkLst>
            <pc:docMk/>
            <pc:sldMk cId="3831383783" sldId="1352"/>
            <ac:spMk id="2" creationId="{AAB8BB9D-0FB6-62BF-E1B5-48D59B98FF35}"/>
          </ac:spMkLst>
        </pc:spChg>
        <pc:spChg chg="mod">
          <ac:chgData name="Kostrzewa, Michalina" userId="S::michalina.kostrzewa@accenture.com::f9c8eaf7-e0fb-4f7f-b9c4-b9b96ac1f428" providerId="AD" clId="Web-{562514D4-CCAD-46DF-922F-7FC62B4A1D5E}" dt="2023-11-30T14:07:36.089" v="175" actId="20577"/>
          <ac:spMkLst>
            <pc:docMk/>
            <pc:sldMk cId="3831383783" sldId="1352"/>
            <ac:spMk id="10" creationId="{F538107F-65D0-6F34-3C3B-5A87C3C26470}"/>
          </ac:spMkLst>
        </pc:spChg>
      </pc:sldChg>
    </pc:docChg>
  </pc:docChgLst>
  <pc:docChgLst>
    <pc:chgData name="Trzcionkowski, Piotr" userId="0fa4f5d9-8ee9-4c8d-a91d-48ef1fca634f" providerId="ADAL" clId="{36C9A8ED-BC6D-4326-A8F9-D847B9510521}"/>
    <pc:docChg chg="undo redo custSel addSld delSld modSld modSection">
      <pc:chgData name="Trzcionkowski, Piotr" userId="0fa4f5d9-8ee9-4c8d-a91d-48ef1fca634f" providerId="ADAL" clId="{36C9A8ED-BC6D-4326-A8F9-D847B9510521}" dt="2023-10-16T14:31:47.094" v="3345"/>
      <pc:docMkLst>
        <pc:docMk/>
      </pc:docMkLst>
      <pc:sldChg chg="modSp mod">
        <pc:chgData name="Trzcionkowski, Piotr" userId="0fa4f5d9-8ee9-4c8d-a91d-48ef1fca634f" providerId="ADAL" clId="{36C9A8ED-BC6D-4326-A8F9-D847B9510521}" dt="2023-10-16T13:55:15.489" v="2990" actId="14826"/>
        <pc:sldMkLst>
          <pc:docMk/>
          <pc:sldMk cId="2500725948" sldId="1320"/>
        </pc:sldMkLst>
        <pc:picChg chg="mod modCrop">
          <ac:chgData name="Trzcionkowski, Piotr" userId="0fa4f5d9-8ee9-4c8d-a91d-48ef1fca634f" providerId="ADAL" clId="{36C9A8ED-BC6D-4326-A8F9-D847B9510521}" dt="2023-10-16T13:55:15.489" v="2990" actId="14826"/>
          <ac:picMkLst>
            <pc:docMk/>
            <pc:sldMk cId="2500725948" sldId="1320"/>
            <ac:picMk id="5" creationId="{35611B12-FDDD-46D1-AF00-6ED5FAC96C63}"/>
          </ac:picMkLst>
        </pc:picChg>
      </pc:sldChg>
      <pc:sldChg chg="addSp delSp modSp add del mod">
        <pc:chgData name="Trzcionkowski, Piotr" userId="0fa4f5d9-8ee9-4c8d-a91d-48ef1fca634f" providerId="ADAL" clId="{36C9A8ED-BC6D-4326-A8F9-D847B9510521}" dt="2023-10-16T13:55:40.639" v="2992" actId="2696"/>
        <pc:sldMkLst>
          <pc:docMk/>
          <pc:sldMk cId="795419959" sldId="1350"/>
        </pc:sldMkLst>
        <pc:spChg chg="mod">
          <ac:chgData name="Trzcionkowski, Piotr" userId="0fa4f5d9-8ee9-4c8d-a91d-48ef1fca634f" providerId="ADAL" clId="{36C9A8ED-BC6D-4326-A8F9-D847B9510521}" dt="2023-10-16T10:55:46.483" v="66" actId="6549"/>
          <ac:spMkLst>
            <pc:docMk/>
            <pc:sldMk cId="795419959" sldId="1350"/>
            <ac:spMk id="2" creationId="{1692525E-A870-A45E-6DDE-5DA273AC6EED}"/>
          </ac:spMkLst>
        </pc:spChg>
        <pc:spChg chg="mod">
          <ac:chgData name="Trzcionkowski, Piotr" userId="0fa4f5d9-8ee9-4c8d-a91d-48ef1fca634f" providerId="ADAL" clId="{36C9A8ED-BC6D-4326-A8F9-D847B9510521}" dt="2023-10-16T13:28:21.819" v="2959" actId="20577"/>
          <ac:spMkLst>
            <pc:docMk/>
            <pc:sldMk cId="795419959" sldId="1350"/>
            <ac:spMk id="3" creationId="{66CC37AE-8AAF-7900-9240-93D574D86204}"/>
          </ac:spMkLst>
        </pc:spChg>
        <pc:spChg chg="mod">
          <ac:chgData name="Trzcionkowski, Piotr" userId="0fa4f5d9-8ee9-4c8d-a91d-48ef1fca634f" providerId="ADAL" clId="{36C9A8ED-BC6D-4326-A8F9-D847B9510521}" dt="2023-10-16T10:54:31.390" v="16" actId="20577"/>
          <ac:spMkLst>
            <pc:docMk/>
            <pc:sldMk cId="795419959" sldId="1350"/>
            <ac:spMk id="4" creationId="{A43141BC-27B9-3206-0BA5-5F19599F51DE}"/>
          </ac:spMkLst>
        </pc:spChg>
        <pc:spChg chg="mod">
          <ac:chgData name="Trzcionkowski, Piotr" userId="0fa4f5d9-8ee9-4c8d-a91d-48ef1fca634f" providerId="ADAL" clId="{36C9A8ED-BC6D-4326-A8F9-D847B9510521}" dt="2023-10-16T11:17:11.904" v="156" actId="20577"/>
          <ac:spMkLst>
            <pc:docMk/>
            <pc:sldMk cId="795419959" sldId="1350"/>
            <ac:spMk id="5" creationId="{766F8E67-1E56-9DD3-15A5-5C00632E52B7}"/>
          </ac:spMkLst>
        </pc:spChg>
        <pc:spChg chg="mod">
          <ac:chgData name="Trzcionkowski, Piotr" userId="0fa4f5d9-8ee9-4c8d-a91d-48ef1fca634f" providerId="ADAL" clId="{36C9A8ED-BC6D-4326-A8F9-D847B9510521}" dt="2023-10-16T13:28:30.049" v="2962" actId="20577"/>
          <ac:spMkLst>
            <pc:docMk/>
            <pc:sldMk cId="795419959" sldId="1350"/>
            <ac:spMk id="7" creationId="{33BC7E8F-321D-D3EA-93F2-9277C71CE905}"/>
          </ac:spMkLst>
        </pc:spChg>
        <pc:spChg chg="mod">
          <ac:chgData name="Trzcionkowski, Piotr" userId="0fa4f5d9-8ee9-4c8d-a91d-48ef1fca634f" providerId="ADAL" clId="{36C9A8ED-BC6D-4326-A8F9-D847B9510521}" dt="2023-10-16T11:48:56.144" v="742" actId="6549"/>
          <ac:spMkLst>
            <pc:docMk/>
            <pc:sldMk cId="795419959" sldId="1350"/>
            <ac:spMk id="8" creationId="{21B27FAC-F4D8-14FA-E816-E0F5A6718CC9}"/>
          </ac:spMkLst>
        </pc:spChg>
        <pc:spChg chg="mod">
          <ac:chgData name="Trzcionkowski, Piotr" userId="0fa4f5d9-8ee9-4c8d-a91d-48ef1fca634f" providerId="ADAL" clId="{36C9A8ED-BC6D-4326-A8F9-D847B9510521}" dt="2023-10-16T10:57:13.438" v="134" actId="20577"/>
          <ac:spMkLst>
            <pc:docMk/>
            <pc:sldMk cId="795419959" sldId="1350"/>
            <ac:spMk id="9" creationId="{EFA473DF-7A5B-64B0-18C7-104850EA02E3}"/>
          </ac:spMkLst>
        </pc:spChg>
        <pc:spChg chg="mod">
          <ac:chgData name="Trzcionkowski, Piotr" userId="0fa4f5d9-8ee9-4c8d-a91d-48ef1fca634f" providerId="ADAL" clId="{36C9A8ED-BC6D-4326-A8F9-D847B9510521}" dt="2023-10-16T13:07:02.990" v="2951" actId="20577"/>
          <ac:spMkLst>
            <pc:docMk/>
            <pc:sldMk cId="795419959" sldId="1350"/>
            <ac:spMk id="10" creationId="{6544F642-4FD7-D49B-CDFE-2E39F605B09B}"/>
          </ac:spMkLst>
        </pc:spChg>
        <pc:spChg chg="add del mod">
          <ac:chgData name="Trzcionkowski, Piotr" userId="0fa4f5d9-8ee9-4c8d-a91d-48ef1fca634f" providerId="ADAL" clId="{36C9A8ED-BC6D-4326-A8F9-D847B9510521}" dt="2023-10-16T13:25:46.700" v="2953"/>
          <ac:spMkLst>
            <pc:docMk/>
            <pc:sldMk cId="795419959" sldId="1350"/>
            <ac:spMk id="11" creationId="{9FB0998D-DB51-E009-C96D-680BA11D115B}"/>
          </ac:spMkLst>
        </pc:spChg>
        <pc:picChg chg="del">
          <ac:chgData name="Trzcionkowski, Piotr" userId="0fa4f5d9-8ee9-4c8d-a91d-48ef1fca634f" providerId="ADAL" clId="{36C9A8ED-BC6D-4326-A8F9-D847B9510521}" dt="2023-10-16T10:54:26.540" v="1" actId="478"/>
          <ac:picMkLst>
            <pc:docMk/>
            <pc:sldMk cId="795419959" sldId="1350"/>
            <ac:picMk id="12" creationId="{90ADF74C-97E6-7E5A-56E2-6D57818E2331}"/>
          </ac:picMkLst>
        </pc:picChg>
        <pc:picChg chg="add del mod">
          <ac:chgData name="Trzcionkowski, Piotr" userId="0fa4f5d9-8ee9-4c8d-a91d-48ef1fca634f" providerId="ADAL" clId="{36C9A8ED-BC6D-4326-A8F9-D847B9510521}" dt="2023-10-16T13:25:46.700" v="2953"/>
          <ac:picMkLst>
            <pc:docMk/>
            <pc:sldMk cId="795419959" sldId="1350"/>
            <ac:picMk id="13" creationId="{ABDD75AA-2E56-528B-426B-4267F3A7E3AF}"/>
          </ac:picMkLst>
        </pc:picChg>
      </pc:sldChg>
      <pc:sldChg chg="modSp add mod">
        <pc:chgData name="Trzcionkowski, Piotr" userId="0fa4f5d9-8ee9-4c8d-a91d-48ef1fca634f" providerId="ADAL" clId="{36C9A8ED-BC6D-4326-A8F9-D847B9510521}" dt="2023-10-16T14:31:47.094" v="3345"/>
        <pc:sldMkLst>
          <pc:docMk/>
          <pc:sldMk cId="3202719610" sldId="1351"/>
        </pc:sldMkLst>
        <pc:spChg chg="mod">
          <ac:chgData name="Trzcionkowski, Piotr" userId="0fa4f5d9-8ee9-4c8d-a91d-48ef1fca634f" providerId="ADAL" clId="{36C9A8ED-BC6D-4326-A8F9-D847B9510521}" dt="2023-10-16T14:25:10.189" v="3327" actId="255"/>
          <ac:spMkLst>
            <pc:docMk/>
            <pc:sldMk cId="3202719610" sldId="1351"/>
            <ac:spMk id="2" creationId="{1692525E-A870-A45E-6DDE-5DA273AC6EED}"/>
          </ac:spMkLst>
        </pc:spChg>
        <pc:spChg chg="mod">
          <ac:chgData name="Trzcionkowski, Piotr" userId="0fa4f5d9-8ee9-4c8d-a91d-48ef1fca634f" providerId="ADAL" clId="{36C9A8ED-BC6D-4326-A8F9-D847B9510521}" dt="2023-10-16T13:28:25.222" v="2960"/>
          <ac:spMkLst>
            <pc:docMk/>
            <pc:sldMk cId="3202719610" sldId="1351"/>
            <ac:spMk id="3" creationId="{66CC37AE-8AAF-7900-9240-93D574D86204}"/>
          </ac:spMkLst>
        </pc:spChg>
        <pc:spChg chg="mod">
          <ac:chgData name="Trzcionkowski, Piotr" userId="0fa4f5d9-8ee9-4c8d-a91d-48ef1fca634f" providerId="ADAL" clId="{36C9A8ED-BC6D-4326-A8F9-D847B9510521}" dt="2023-10-16T13:28:04.890" v="2955"/>
          <ac:spMkLst>
            <pc:docMk/>
            <pc:sldMk cId="3202719610" sldId="1351"/>
            <ac:spMk id="4" creationId="{A43141BC-27B9-3206-0BA5-5F19599F51DE}"/>
          </ac:spMkLst>
        </pc:spChg>
        <pc:spChg chg="mod">
          <ac:chgData name="Trzcionkowski, Piotr" userId="0fa4f5d9-8ee9-4c8d-a91d-48ef1fca634f" providerId="ADAL" clId="{36C9A8ED-BC6D-4326-A8F9-D847B9510521}" dt="2023-10-16T13:28:10.061" v="2956"/>
          <ac:spMkLst>
            <pc:docMk/>
            <pc:sldMk cId="3202719610" sldId="1351"/>
            <ac:spMk id="5" creationId="{766F8E67-1E56-9DD3-15A5-5C00632E52B7}"/>
          </ac:spMkLst>
        </pc:spChg>
        <pc:spChg chg="mod">
          <ac:chgData name="Trzcionkowski, Piotr" userId="0fa4f5d9-8ee9-4c8d-a91d-48ef1fca634f" providerId="ADAL" clId="{36C9A8ED-BC6D-4326-A8F9-D847B9510521}" dt="2023-10-16T13:28:42.772" v="2968" actId="404"/>
          <ac:spMkLst>
            <pc:docMk/>
            <pc:sldMk cId="3202719610" sldId="1351"/>
            <ac:spMk id="7" creationId="{33BC7E8F-321D-D3EA-93F2-9277C71CE905}"/>
          </ac:spMkLst>
        </pc:spChg>
        <pc:spChg chg="mod">
          <ac:chgData name="Trzcionkowski, Piotr" userId="0fa4f5d9-8ee9-4c8d-a91d-48ef1fca634f" providerId="ADAL" clId="{36C9A8ED-BC6D-4326-A8F9-D847B9510521}" dt="2023-10-16T14:06:50.966" v="3137" actId="403"/>
          <ac:spMkLst>
            <pc:docMk/>
            <pc:sldMk cId="3202719610" sldId="1351"/>
            <ac:spMk id="8" creationId="{21B27FAC-F4D8-14FA-E816-E0F5A6718CC9}"/>
          </ac:spMkLst>
        </pc:spChg>
        <pc:spChg chg="mod">
          <ac:chgData name="Trzcionkowski, Piotr" userId="0fa4f5d9-8ee9-4c8d-a91d-48ef1fca634f" providerId="ADAL" clId="{36C9A8ED-BC6D-4326-A8F9-D847B9510521}" dt="2023-10-16T13:28:59.718" v="2973" actId="20577"/>
          <ac:spMkLst>
            <pc:docMk/>
            <pc:sldMk cId="3202719610" sldId="1351"/>
            <ac:spMk id="9" creationId="{EFA473DF-7A5B-64B0-18C7-104850EA02E3}"/>
          </ac:spMkLst>
        </pc:spChg>
        <pc:spChg chg="mod">
          <ac:chgData name="Trzcionkowski, Piotr" userId="0fa4f5d9-8ee9-4c8d-a91d-48ef1fca634f" providerId="ADAL" clId="{36C9A8ED-BC6D-4326-A8F9-D847B9510521}" dt="2023-10-16T14:31:47.094" v="3345"/>
          <ac:spMkLst>
            <pc:docMk/>
            <pc:sldMk cId="3202719610" sldId="1351"/>
            <ac:spMk id="10" creationId="{6544F642-4FD7-D49B-CDFE-2E39F605B09B}"/>
          </ac:spMkLst>
        </pc:spChg>
        <pc:picChg chg="mod">
          <ac:chgData name="Trzcionkowski, Piotr" userId="0fa4f5d9-8ee9-4c8d-a91d-48ef1fca634f" providerId="ADAL" clId="{36C9A8ED-BC6D-4326-A8F9-D847B9510521}" dt="2023-10-16T13:55:22.623" v="2991" actId="14826"/>
          <ac:picMkLst>
            <pc:docMk/>
            <pc:sldMk cId="3202719610" sldId="1351"/>
            <ac:picMk id="12" creationId="{90ADF74C-97E6-7E5A-56E2-6D57818E2331}"/>
          </ac:picMkLst>
        </pc:picChg>
      </pc:sldChg>
    </pc:docChg>
  </pc:docChgLst>
  <pc:docChgLst>
    <pc:chgData name="Rytter, Tomasz" userId="c701fe2b-e57e-48b5-acda-e15b2a4f02cb" providerId="ADAL" clId="{49294E60-D3ED-474F-9686-44B6A03897BC}"/>
    <pc:docChg chg="custSel modSld sldOrd">
      <pc:chgData name="Rytter, Tomasz" userId="c701fe2b-e57e-48b5-acda-e15b2a4f02cb" providerId="ADAL" clId="{49294E60-D3ED-474F-9686-44B6A03897BC}" dt="2024-03-18T10:54:41.929" v="35" actId="27636"/>
      <pc:docMkLst>
        <pc:docMk/>
      </pc:docMkLst>
      <pc:sldChg chg="ord">
        <pc:chgData name="Rytter, Tomasz" userId="c701fe2b-e57e-48b5-acda-e15b2a4f02cb" providerId="ADAL" clId="{49294E60-D3ED-474F-9686-44B6A03897BC}" dt="2024-03-18T10:21:12.581" v="0" actId="20578"/>
        <pc:sldMkLst>
          <pc:docMk/>
          <pc:sldMk cId="3953439156" sldId="1218"/>
        </pc:sldMkLst>
      </pc:sldChg>
      <pc:sldChg chg="modSp mod">
        <pc:chgData name="Rytter, Tomasz" userId="c701fe2b-e57e-48b5-acda-e15b2a4f02cb" providerId="ADAL" clId="{49294E60-D3ED-474F-9686-44B6A03897BC}" dt="2024-03-18T10:54:41.874" v="32" actId="27636"/>
        <pc:sldMkLst>
          <pc:docMk/>
          <pc:sldMk cId="3706624102" sldId="1322"/>
        </pc:sldMkLst>
        <pc:spChg chg="mod">
          <ac:chgData name="Rytter, Tomasz" userId="c701fe2b-e57e-48b5-acda-e15b2a4f02cb" providerId="ADAL" clId="{49294E60-D3ED-474F-9686-44B6A03897BC}" dt="2024-03-18T10:54:41.874" v="32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Rytter, Tomasz" userId="c701fe2b-e57e-48b5-acda-e15b2a4f02cb" providerId="ADAL" clId="{49294E60-D3ED-474F-9686-44B6A03897BC}" dt="2024-03-18T10:54:41.929" v="35" actId="27636"/>
        <pc:sldMkLst>
          <pc:docMk/>
          <pc:sldMk cId="3967085744" sldId="1347"/>
        </pc:sldMkLst>
        <pc:spChg chg="mod">
          <ac:chgData name="Rytter, Tomasz" userId="c701fe2b-e57e-48b5-acda-e15b2a4f02cb" providerId="ADAL" clId="{49294E60-D3ED-474F-9686-44B6A03897BC}" dt="2024-03-18T10:54:41.929" v="35" actId="27636"/>
          <ac:spMkLst>
            <pc:docMk/>
            <pc:sldMk cId="3967085744" sldId="1347"/>
            <ac:spMk id="2" creationId="{907A6792-CD02-599B-4146-7772C73B01E3}"/>
          </ac:spMkLst>
        </pc:spChg>
        <pc:spChg chg="mod">
          <ac:chgData name="Rytter, Tomasz" userId="c701fe2b-e57e-48b5-acda-e15b2a4f02cb" providerId="ADAL" clId="{49294E60-D3ED-474F-9686-44B6A03897BC}" dt="2024-03-18T10:54:41.925" v="34" actId="27636"/>
          <ac:spMkLst>
            <pc:docMk/>
            <pc:sldMk cId="3967085744" sldId="1347"/>
            <ac:spMk id="7" creationId="{83D1AB77-327B-D8C5-CF7B-688095FA023A}"/>
          </ac:spMkLst>
        </pc:spChg>
      </pc:sldChg>
      <pc:sldChg chg="modSp mod">
        <pc:chgData name="Rytter, Tomasz" userId="c701fe2b-e57e-48b5-acda-e15b2a4f02cb" providerId="ADAL" clId="{49294E60-D3ED-474F-9686-44B6A03897BC}" dt="2024-03-18T10:54:41.915" v="33" actId="27636"/>
        <pc:sldMkLst>
          <pc:docMk/>
          <pc:sldMk cId="1949626962" sldId="1349"/>
        </pc:sldMkLst>
        <pc:spChg chg="mod">
          <ac:chgData name="Rytter, Tomasz" userId="c701fe2b-e57e-48b5-acda-e15b2a4f02cb" providerId="ADAL" clId="{49294E60-D3ED-474F-9686-44B6A03897BC}" dt="2024-03-18T10:54:41.915" v="33" actId="27636"/>
          <ac:spMkLst>
            <pc:docMk/>
            <pc:sldMk cId="1949626962" sldId="1349"/>
            <ac:spMk id="2" creationId="{907A6792-CD02-599B-4146-7772C73B01E3}"/>
          </ac:spMkLst>
        </pc:spChg>
      </pc:sldChg>
      <pc:sldChg chg="modSp mod">
        <pc:chgData name="Rytter, Tomasz" userId="c701fe2b-e57e-48b5-acda-e15b2a4f02cb" providerId="ADAL" clId="{49294E60-D3ED-474F-9686-44B6A03897BC}" dt="2024-03-18T10:54:41.853" v="31" actId="27636"/>
        <pc:sldMkLst>
          <pc:docMk/>
          <pc:sldMk cId="628719752" sldId="1353"/>
        </pc:sldMkLst>
        <pc:spChg chg="mod">
          <ac:chgData name="Rytter, Tomasz" userId="c701fe2b-e57e-48b5-acda-e15b2a4f02cb" providerId="ADAL" clId="{49294E60-D3ED-474F-9686-44B6A03897BC}" dt="2024-03-18T10:54:41.853" v="31" actId="27636"/>
          <ac:spMkLst>
            <pc:docMk/>
            <pc:sldMk cId="628719752" sldId="1353"/>
            <ac:spMk id="7" creationId="{83D1AB77-327B-D8C5-CF7B-688095FA023A}"/>
          </ac:spMkLst>
        </pc:spChg>
      </pc:sldChg>
    </pc:docChg>
  </pc:docChgLst>
  <pc:docChgLst>
    <pc:chgData name="Korneta, Iga" userId="S::iga.korneta@accenture.com::5bb3f265-4f39-4daa-912c-5caa86b505fb" providerId="AD" clId="Web-{F750BCAB-5FFC-F124-56A8-F0C5FD838A2C}"/>
    <pc:docChg chg="modSld">
      <pc:chgData name="Korneta, Iga" userId="S::iga.korneta@accenture.com::5bb3f265-4f39-4daa-912c-5caa86b505fb" providerId="AD" clId="Web-{F750BCAB-5FFC-F124-56A8-F0C5FD838A2C}" dt="2024-03-25T14:45:18.534" v="1" actId="20577"/>
      <pc:docMkLst>
        <pc:docMk/>
      </pc:docMkLst>
      <pc:sldChg chg="modSp">
        <pc:chgData name="Korneta, Iga" userId="S::iga.korneta@accenture.com::5bb3f265-4f39-4daa-912c-5caa86b505fb" providerId="AD" clId="Web-{F750BCAB-5FFC-F124-56A8-F0C5FD838A2C}" dt="2024-03-25T14:45:18.534" v="1" actId="20577"/>
        <pc:sldMkLst>
          <pc:docMk/>
          <pc:sldMk cId="282247140" sldId="1363"/>
        </pc:sldMkLst>
        <pc:spChg chg="mod">
          <ac:chgData name="Korneta, Iga" userId="S::iga.korneta@accenture.com::5bb3f265-4f39-4daa-912c-5caa86b505fb" providerId="AD" clId="Web-{F750BCAB-5FFC-F124-56A8-F0C5FD838A2C}" dt="2024-03-25T14:45:18.534" v="1" actId="20577"/>
          <ac:spMkLst>
            <pc:docMk/>
            <pc:sldMk cId="282247140" sldId="1363"/>
            <ac:spMk id="10" creationId="{F538107F-65D0-6F34-3C3B-5A87C3C26470}"/>
          </ac:spMkLst>
        </pc:spChg>
      </pc:sldChg>
    </pc:docChg>
  </pc:docChgLst>
  <pc:docChgLst>
    <pc:chgData name="Drozd, Szymon" userId="c94c0052-9971-412a-bdc4-3933dce0d80a" providerId="ADAL" clId="{2F3596A7-7D77-40EC-AB9E-EB0BEF9BF291}"/>
    <pc:docChg chg="undo custSel modSld">
      <pc:chgData name="Drozd, Szymon" userId="c94c0052-9971-412a-bdc4-3933dce0d80a" providerId="ADAL" clId="{2F3596A7-7D77-40EC-AB9E-EB0BEF9BF291}" dt="2024-01-22T10:53:37.278" v="95" actId="27636"/>
      <pc:docMkLst>
        <pc:docMk/>
      </pc:docMkLst>
      <pc:sldChg chg="addSp delSp modSp mod">
        <pc:chgData name="Drozd, Szymon" userId="c94c0052-9971-412a-bdc4-3933dce0d80a" providerId="ADAL" clId="{2F3596A7-7D77-40EC-AB9E-EB0BEF9BF291}" dt="2024-01-22T10:53:37.278" v="95" actId="27636"/>
        <pc:sldMkLst>
          <pc:docMk/>
          <pc:sldMk cId="628719752" sldId="1353"/>
        </pc:sldMkLst>
        <pc:spChg chg="add mod">
          <ac:chgData name="Drozd, Szymon" userId="c94c0052-9971-412a-bdc4-3933dce0d80a" providerId="ADAL" clId="{2F3596A7-7D77-40EC-AB9E-EB0BEF9BF291}" dt="2023-12-08T13:30:05.773" v="87" actId="1076"/>
          <ac:spMkLst>
            <pc:docMk/>
            <pc:sldMk cId="628719752" sldId="1353"/>
            <ac:spMk id="6" creationId="{2815FC6A-DF30-1342-BA29-88AB2931094B}"/>
          </ac:spMkLst>
        </pc:spChg>
        <pc:spChg chg="mod">
          <ac:chgData name="Drozd, Szymon" userId="c94c0052-9971-412a-bdc4-3933dce0d80a" providerId="ADAL" clId="{2F3596A7-7D77-40EC-AB9E-EB0BEF9BF291}" dt="2023-12-08T12:25:58.472" v="10" actId="20577"/>
          <ac:spMkLst>
            <pc:docMk/>
            <pc:sldMk cId="628719752" sldId="1353"/>
            <ac:spMk id="7" creationId="{83D1AB77-327B-D8C5-CF7B-688095FA023A}"/>
          </ac:spMkLst>
        </pc:spChg>
        <pc:spChg chg="mod">
          <ac:chgData name="Drozd, Szymon" userId="c94c0052-9971-412a-bdc4-3933dce0d80a" providerId="ADAL" clId="{2F3596A7-7D77-40EC-AB9E-EB0BEF9BF291}" dt="2024-01-22T10:53:37.278" v="95" actId="27636"/>
          <ac:spMkLst>
            <pc:docMk/>
            <pc:sldMk cId="628719752" sldId="1353"/>
            <ac:spMk id="8" creationId="{9CFFF608-5DCB-85A5-D2CF-77199B9A17D9}"/>
          </ac:spMkLst>
        </pc:spChg>
        <pc:spChg chg="add del mod">
          <ac:chgData name="Drozd, Szymon" userId="c94c0052-9971-412a-bdc4-3933dce0d80a" providerId="ADAL" clId="{2F3596A7-7D77-40EC-AB9E-EB0BEF9BF291}" dt="2023-12-08T13:28:17.833" v="42" actId="21"/>
          <ac:spMkLst>
            <pc:docMk/>
            <pc:sldMk cId="628719752" sldId="1353"/>
            <ac:spMk id="11" creationId="{E229B154-2FE6-EB15-0A3D-B32558160D83}"/>
          </ac:spMkLst>
        </pc:spChg>
        <pc:spChg chg="add del mod">
          <ac:chgData name="Drozd, Szymon" userId="c94c0052-9971-412a-bdc4-3933dce0d80a" providerId="ADAL" clId="{2F3596A7-7D77-40EC-AB9E-EB0BEF9BF291}" dt="2023-12-08T13:29:50.702" v="82" actId="478"/>
          <ac:spMkLst>
            <pc:docMk/>
            <pc:sldMk cId="628719752" sldId="1353"/>
            <ac:spMk id="14" creationId="{72492E13-1011-B825-6ED7-70F80BFF1893}"/>
          </ac:spMkLst>
        </pc:spChg>
        <pc:spChg chg="add del mod">
          <ac:chgData name="Drozd, Szymon" userId="c94c0052-9971-412a-bdc4-3933dce0d80a" providerId="ADAL" clId="{2F3596A7-7D77-40EC-AB9E-EB0BEF9BF291}" dt="2023-12-08T13:29:42.546" v="80"/>
          <ac:spMkLst>
            <pc:docMk/>
            <pc:sldMk cId="628719752" sldId="1353"/>
            <ac:spMk id="15" creationId="{094424E2-570D-3162-0AC9-20558FBFF033}"/>
          </ac:spMkLst>
        </pc:spChg>
        <pc:spChg chg="add del mod">
          <ac:chgData name="Drozd, Szymon" userId="c94c0052-9971-412a-bdc4-3933dce0d80a" providerId="ADAL" clId="{2F3596A7-7D77-40EC-AB9E-EB0BEF9BF291}" dt="2023-12-08T13:30:10.388" v="89" actId="478"/>
          <ac:spMkLst>
            <pc:docMk/>
            <pc:sldMk cId="628719752" sldId="1353"/>
            <ac:spMk id="16" creationId="{7539B795-3BC3-1BE3-D361-8637DB6A2028}"/>
          </ac:spMkLst>
        </pc:spChg>
        <pc:spChg chg="add del mod">
          <ac:chgData name="Drozd, Szymon" userId="c94c0052-9971-412a-bdc4-3933dce0d80a" providerId="ADAL" clId="{2F3596A7-7D77-40EC-AB9E-EB0BEF9BF291}" dt="2023-12-08T13:29:25.531" v="75" actId="478"/>
          <ac:spMkLst>
            <pc:docMk/>
            <pc:sldMk cId="628719752" sldId="1353"/>
            <ac:spMk id="17" creationId="{0AD04F71-30F4-B73A-8700-2FE781282F8E}"/>
          </ac:spMkLst>
        </pc:spChg>
        <pc:spChg chg="add del mod">
          <ac:chgData name="Drozd, Szymon" userId="c94c0052-9971-412a-bdc4-3933dce0d80a" providerId="ADAL" clId="{2F3596A7-7D77-40EC-AB9E-EB0BEF9BF291}" dt="2023-12-08T13:30:13.462" v="90" actId="478"/>
          <ac:spMkLst>
            <pc:docMk/>
            <pc:sldMk cId="628719752" sldId="1353"/>
            <ac:spMk id="19" creationId="{14669424-64DB-C0DC-91AD-9B7ABA8E22D2}"/>
          </ac:spMkLst>
        </pc:spChg>
      </pc:sldChg>
    </pc:docChg>
  </pc:docChgLst>
  <pc:docChgLst>
    <pc:chgData name="Korneta, Iga" userId="S::iga.korneta@accenture.com::5bb3f265-4f39-4daa-912c-5caa86b505fb" providerId="AD" clId="Web-{E1D1C5A1-4DCE-DB9B-7355-B9977536C7B7}"/>
    <pc:docChg chg="sldOrd">
      <pc:chgData name="Korneta, Iga" userId="S::iga.korneta@accenture.com::5bb3f265-4f39-4daa-912c-5caa86b505fb" providerId="AD" clId="Web-{E1D1C5A1-4DCE-DB9B-7355-B9977536C7B7}" dt="2024-03-25T13:38:31.177" v="1"/>
      <pc:docMkLst>
        <pc:docMk/>
      </pc:docMkLst>
      <pc:sldChg chg="ord">
        <pc:chgData name="Korneta, Iga" userId="S::iga.korneta@accenture.com::5bb3f265-4f39-4daa-912c-5caa86b505fb" providerId="AD" clId="Web-{E1D1C5A1-4DCE-DB9B-7355-B9977536C7B7}" dt="2024-03-25T13:36:54.283" v="0"/>
        <pc:sldMkLst>
          <pc:docMk/>
          <pc:sldMk cId="3651327801" sldId="1214"/>
        </pc:sldMkLst>
      </pc:sldChg>
      <pc:sldChg chg="ord">
        <pc:chgData name="Korneta, Iga" userId="S::iga.korneta@accenture.com::5bb3f265-4f39-4daa-912c-5caa86b505fb" providerId="AD" clId="Web-{E1D1C5A1-4DCE-DB9B-7355-B9977536C7B7}" dt="2024-03-25T13:38:31.177" v="1"/>
        <pc:sldMkLst>
          <pc:docMk/>
          <pc:sldMk cId="2718533031" sldId="1244"/>
        </pc:sldMkLst>
      </pc:sldChg>
    </pc:docChg>
  </pc:docChgLst>
  <pc:docChgLst>
    <pc:chgData name="Pruchnicki, Marcin" userId="13b4f2f6-3869-479e-8e4b-3ca75520da77" providerId="ADAL" clId="{1BD400C6-0FFA-4A44-B027-BFE944290D6F}"/>
    <pc:docChg chg="modSld">
      <pc:chgData name="Pruchnicki, Marcin" userId="13b4f2f6-3869-479e-8e4b-3ca75520da77" providerId="ADAL" clId="{1BD400C6-0FFA-4A44-B027-BFE944290D6F}" dt="2024-03-22T10:50:03.494" v="1" actId="20577"/>
      <pc:docMkLst>
        <pc:docMk/>
      </pc:docMkLst>
      <pc:sldChg chg="modSp mod">
        <pc:chgData name="Pruchnicki, Marcin" userId="13b4f2f6-3869-479e-8e4b-3ca75520da77" providerId="ADAL" clId="{1BD400C6-0FFA-4A44-B027-BFE944290D6F}" dt="2024-03-22T10:50:03.494" v="1" actId="20577"/>
        <pc:sldMkLst>
          <pc:docMk/>
          <pc:sldMk cId="3997245792" sldId="1370"/>
        </pc:sldMkLst>
        <pc:spChg chg="mod">
          <ac:chgData name="Pruchnicki, Marcin" userId="13b4f2f6-3869-479e-8e4b-3ca75520da77" providerId="ADAL" clId="{1BD400C6-0FFA-4A44-B027-BFE944290D6F}" dt="2024-03-22T10:50:03.494" v="1" actId="20577"/>
          <ac:spMkLst>
            <pc:docMk/>
            <pc:sldMk cId="3997245792" sldId="1370"/>
            <ac:spMk id="10" creationId="{F8EFAB05-5F8D-11F1-8B94-E0E4EE0333DC}"/>
          </ac:spMkLst>
        </pc:spChg>
      </pc:sldChg>
    </pc:docChg>
  </pc:docChgLst>
  <pc:docChgLst>
    <pc:chgData name="Kostrzewa, Michalina" userId="S::michalina.kostrzewa@accenture.com::f9c8eaf7-e0fb-4f7f-b9c4-b9b96ac1f428" providerId="AD" clId="Web-{7CD5E919-9E63-42CA-B69D-76C425F7C0B8}"/>
    <pc:docChg chg="modSld">
      <pc:chgData name="Kostrzewa, Michalina" userId="S::michalina.kostrzewa@accenture.com::f9c8eaf7-e0fb-4f7f-b9c4-b9b96ac1f428" providerId="AD" clId="Web-{7CD5E919-9E63-42CA-B69D-76C425F7C0B8}" dt="2023-11-30T13:47:21.106" v="26" actId="20577"/>
      <pc:docMkLst>
        <pc:docMk/>
      </pc:docMkLst>
      <pc:sldChg chg="modSp">
        <pc:chgData name="Kostrzewa, Michalina" userId="S::michalina.kostrzewa@accenture.com::f9c8eaf7-e0fb-4f7f-b9c4-b9b96ac1f428" providerId="AD" clId="Web-{7CD5E919-9E63-42CA-B69D-76C425F7C0B8}" dt="2023-11-30T13:47:21.106" v="26" actId="20577"/>
        <pc:sldMkLst>
          <pc:docMk/>
          <pc:sldMk cId="3831383783" sldId="1352"/>
        </pc:sldMkLst>
        <pc:spChg chg="mod">
          <ac:chgData name="Kostrzewa, Michalina" userId="S::michalina.kostrzewa@accenture.com::f9c8eaf7-e0fb-4f7f-b9c4-b9b96ac1f428" providerId="AD" clId="Web-{7CD5E919-9E63-42CA-B69D-76C425F7C0B8}" dt="2023-11-30T13:47:21.106" v="26" actId="20577"/>
          <ac:spMkLst>
            <pc:docMk/>
            <pc:sldMk cId="3831383783" sldId="1352"/>
            <ac:spMk id="10" creationId="{F538107F-65D0-6F34-3C3B-5A87C3C26470}"/>
          </ac:spMkLst>
        </pc:spChg>
      </pc:sldChg>
    </pc:docChg>
  </pc:docChgLst>
  <pc:docChgLst>
    <pc:chgData name="Mróz, Edyta" userId="S::edyta.mroz@accenture.com::d039859b-4177-4bb5-bcf4-d033cde24e68" providerId="AD" clId="Web-{B4FAB631-5D5F-832B-B546-50CC84D0E6A3}"/>
    <pc:docChg chg="modSld">
      <pc:chgData name="Mróz, Edyta" userId="S::edyta.mroz@accenture.com::d039859b-4177-4bb5-bcf4-d033cde24e68" providerId="AD" clId="Web-{B4FAB631-5D5F-832B-B546-50CC84D0E6A3}" dt="2024-03-22T10:33:01.813" v="824" actId="20577"/>
      <pc:docMkLst>
        <pc:docMk/>
      </pc:docMkLst>
      <pc:sldChg chg="modSp">
        <pc:chgData name="Mróz, Edyta" userId="S::edyta.mroz@accenture.com::d039859b-4177-4bb5-bcf4-d033cde24e68" providerId="AD" clId="Web-{B4FAB631-5D5F-832B-B546-50CC84D0E6A3}" dt="2024-03-22T10:33:01.813" v="824" actId="20577"/>
        <pc:sldMkLst>
          <pc:docMk/>
          <pc:sldMk cId="3997245792" sldId="1370"/>
        </pc:sldMkLst>
        <pc:spChg chg="mod">
          <ac:chgData name="Mróz, Edyta" userId="S::edyta.mroz@accenture.com::d039859b-4177-4bb5-bcf4-d033cde24e68" providerId="AD" clId="Web-{B4FAB631-5D5F-832B-B546-50CC84D0E6A3}" dt="2024-03-22T10:33:01.813" v="824" actId="20577"/>
          <ac:spMkLst>
            <pc:docMk/>
            <pc:sldMk cId="3997245792" sldId="1370"/>
            <ac:spMk id="2" creationId="{CB8CAD38-0A53-4C59-B010-496EC59972DC}"/>
          </ac:spMkLst>
        </pc:spChg>
        <pc:spChg chg="mod">
          <ac:chgData name="Mróz, Edyta" userId="S::edyta.mroz@accenture.com::d039859b-4177-4bb5-bcf4-d033cde24e68" providerId="AD" clId="Web-{B4FAB631-5D5F-832B-B546-50CC84D0E6A3}" dt="2024-03-22T10:20:13.982" v="553" actId="20577"/>
          <ac:spMkLst>
            <pc:docMk/>
            <pc:sldMk cId="3997245792" sldId="1370"/>
            <ac:spMk id="10" creationId="{F8EFAB05-5F8D-11F1-8B94-E0E4EE0333DC}"/>
          </ac:spMkLst>
        </pc:spChg>
      </pc:sldChg>
    </pc:docChg>
  </pc:docChgLst>
  <pc:docChgLst>
    <pc:chgData name="Korneta, Iga" userId="S::iga.korneta@accenture.com::5bb3f265-4f39-4daa-912c-5caa86b505fb" providerId="AD" clId="Web-{5F71C13C-FF3D-FDCA-FDCA-0D44C08A4B15}"/>
    <pc:docChg chg="modSld">
      <pc:chgData name="Korneta, Iga" userId="S::iga.korneta@accenture.com::5bb3f265-4f39-4daa-912c-5caa86b505fb" providerId="AD" clId="Web-{5F71C13C-FF3D-FDCA-FDCA-0D44C08A4B15}" dt="2024-03-28T12:21:39.322" v="37" actId="20577"/>
      <pc:docMkLst>
        <pc:docMk/>
      </pc:docMkLst>
      <pc:sldChg chg="modSp">
        <pc:chgData name="Korneta, Iga" userId="S::iga.korneta@accenture.com::5bb3f265-4f39-4daa-912c-5caa86b505fb" providerId="AD" clId="Web-{5F71C13C-FF3D-FDCA-FDCA-0D44C08A4B15}" dt="2024-03-28T12:21:39.322" v="37" actId="20577"/>
        <pc:sldMkLst>
          <pc:docMk/>
          <pc:sldMk cId="282247140" sldId="1363"/>
        </pc:sldMkLst>
        <pc:spChg chg="mod">
          <ac:chgData name="Korneta, Iga" userId="S::iga.korneta@accenture.com::5bb3f265-4f39-4daa-912c-5caa86b505fb" providerId="AD" clId="Web-{5F71C13C-FF3D-FDCA-FDCA-0D44C08A4B15}" dt="2024-03-28T12:21:39.322" v="37" actId="20577"/>
          <ac:spMkLst>
            <pc:docMk/>
            <pc:sldMk cId="282247140" sldId="1363"/>
            <ac:spMk id="8" creationId="{470BA70A-2BDE-FA95-B241-FA70FDE67E60}"/>
          </ac:spMkLst>
        </pc:spChg>
      </pc:sldChg>
    </pc:docChg>
  </pc:docChgLst>
  <pc:docChgLst>
    <pc:chgData name="Jablonska, Martyna" userId="S::martyna.jablonska@accenture.com::61db2c6a-f030-4d6e-a1ab-261fc8f36838" providerId="AD" clId="Web-{1993D3BE-A361-BD0D-6730-EC63E7116C1E}"/>
    <pc:docChg chg="sldOrd">
      <pc:chgData name="Jablonska, Martyna" userId="S::martyna.jablonska@accenture.com::61db2c6a-f030-4d6e-a1ab-261fc8f36838" providerId="AD" clId="Web-{1993D3BE-A361-BD0D-6730-EC63E7116C1E}" dt="2024-01-03T13:20:47.883" v="1"/>
      <pc:docMkLst>
        <pc:docMk/>
      </pc:docMkLst>
      <pc:sldChg chg="ord">
        <pc:chgData name="Jablonska, Martyna" userId="S::martyna.jablonska@accenture.com::61db2c6a-f030-4d6e-a1ab-261fc8f36838" providerId="AD" clId="Web-{1993D3BE-A361-BD0D-6730-EC63E7116C1E}" dt="2024-01-03T13:20:47.883" v="1"/>
        <pc:sldMkLst>
          <pc:docMk/>
          <pc:sldMk cId="3069348681" sldId="1356"/>
        </pc:sldMkLst>
      </pc:sldChg>
    </pc:docChg>
  </pc:docChgLst>
  <pc:docChgLst>
    <pc:chgData name="Jablonska, Martyna" userId="S::martyna.jablonska@accenture.com::61db2c6a-f030-4d6e-a1ab-261fc8f36838" providerId="AD" clId="Web-{694484CB-B742-8840-ADCA-9B3089F95CFA}"/>
    <pc:docChg chg="modSld">
      <pc:chgData name="Jablonska, Martyna" userId="S::martyna.jablonska@accenture.com::61db2c6a-f030-4d6e-a1ab-261fc8f36838" providerId="AD" clId="Web-{694484CB-B742-8840-ADCA-9B3089F95CFA}" dt="2023-12-08T12:23:38.584" v="175" actId="20577"/>
      <pc:docMkLst>
        <pc:docMk/>
      </pc:docMkLst>
      <pc:sldChg chg="modSp">
        <pc:chgData name="Jablonska, Martyna" userId="S::martyna.jablonska@accenture.com::61db2c6a-f030-4d6e-a1ab-261fc8f36838" providerId="AD" clId="Web-{694484CB-B742-8840-ADCA-9B3089F95CFA}" dt="2023-12-08T12:22:30.504" v="162" actId="20577"/>
        <pc:sldMkLst>
          <pc:docMk/>
          <pc:sldMk cId="2729752082" sldId="1233"/>
        </pc:sldMkLst>
        <pc:spChg chg="mod">
          <ac:chgData name="Jablonska, Martyna" userId="S::martyna.jablonska@accenture.com::61db2c6a-f030-4d6e-a1ab-261fc8f36838" providerId="AD" clId="Web-{694484CB-B742-8840-ADCA-9B3089F95CFA}" dt="2023-12-08T12:22:30.504" v="162" actId="20577"/>
          <ac:spMkLst>
            <pc:docMk/>
            <pc:sldMk cId="2729752082" sldId="1233"/>
            <ac:spMk id="5" creationId="{766F8E67-1E56-9DD3-15A5-5C00632E52B7}"/>
          </ac:spMkLst>
        </pc:spChg>
      </pc:sldChg>
      <pc:sldChg chg="modSp">
        <pc:chgData name="Jablonska, Martyna" userId="S::martyna.jablonska@accenture.com::61db2c6a-f030-4d6e-a1ab-261fc8f36838" providerId="AD" clId="Web-{694484CB-B742-8840-ADCA-9B3089F95CFA}" dt="2023-12-08T12:20:21.359" v="125" actId="20577"/>
        <pc:sldMkLst>
          <pc:docMk/>
          <pc:sldMk cId="415718272" sldId="1239"/>
        </pc:sldMkLst>
        <pc:spChg chg="mod">
          <ac:chgData name="Jablonska, Martyna" userId="S::martyna.jablonska@accenture.com::61db2c6a-f030-4d6e-a1ab-261fc8f36838" providerId="AD" clId="Web-{694484CB-B742-8840-ADCA-9B3089F95CFA}" dt="2023-12-08T12:20:21.359" v="125" actId="20577"/>
          <ac:spMkLst>
            <pc:docMk/>
            <pc:sldMk cId="415718272" sldId="1239"/>
            <ac:spMk id="5" creationId="{766F8E67-1E56-9DD3-15A5-5C00632E52B7}"/>
          </ac:spMkLst>
        </pc:spChg>
      </pc:sldChg>
      <pc:sldChg chg="modSp">
        <pc:chgData name="Jablonska, Martyna" userId="S::martyna.jablonska@accenture.com::61db2c6a-f030-4d6e-a1ab-261fc8f36838" providerId="AD" clId="Web-{694484CB-B742-8840-ADCA-9B3089F95CFA}" dt="2023-12-08T12:16:56.618" v="116" actId="20577"/>
        <pc:sldMkLst>
          <pc:docMk/>
          <pc:sldMk cId="1241472327" sldId="1247"/>
        </pc:sldMkLst>
        <pc:spChg chg="mod">
          <ac:chgData name="Jablonska, Martyna" userId="S::martyna.jablonska@accenture.com::61db2c6a-f030-4d6e-a1ab-261fc8f36838" providerId="AD" clId="Web-{694484CB-B742-8840-ADCA-9B3089F95CFA}" dt="2023-12-08T12:16:34.195" v="100" actId="20577"/>
          <ac:spMkLst>
            <pc:docMk/>
            <pc:sldMk cId="1241472327" sldId="1247"/>
            <ac:spMk id="8" creationId="{A9D0EDE1-319C-F7C6-A99B-9FCF1CAD96E2}"/>
          </ac:spMkLst>
        </pc:spChg>
        <pc:spChg chg="mod">
          <ac:chgData name="Jablonska, Martyna" userId="S::martyna.jablonska@accenture.com::61db2c6a-f030-4d6e-a1ab-261fc8f36838" providerId="AD" clId="Web-{694484CB-B742-8840-ADCA-9B3089F95CFA}" dt="2023-12-08T12:16:56.618" v="116" actId="20577"/>
          <ac:spMkLst>
            <pc:docMk/>
            <pc:sldMk cId="1241472327" sldId="1247"/>
            <ac:spMk id="10" creationId="{68D47195-2257-27FD-9554-F23924FA4345}"/>
          </ac:spMkLst>
        </pc:spChg>
      </pc:sldChg>
      <pc:sldChg chg="modSp">
        <pc:chgData name="Jablonska, Martyna" userId="S::martyna.jablonska@accenture.com::61db2c6a-f030-4d6e-a1ab-261fc8f36838" providerId="AD" clId="Web-{694484CB-B742-8840-ADCA-9B3089F95CFA}" dt="2023-12-08T12:18:39.965" v="124" actId="20577"/>
        <pc:sldMkLst>
          <pc:docMk/>
          <pc:sldMk cId="1332470089" sldId="1261"/>
        </pc:sldMkLst>
        <pc:spChg chg="mod">
          <ac:chgData name="Jablonska, Martyna" userId="S::martyna.jablonska@accenture.com::61db2c6a-f030-4d6e-a1ab-261fc8f36838" providerId="AD" clId="Web-{694484CB-B742-8840-ADCA-9B3089F95CFA}" dt="2023-12-08T12:18:39.965" v="124" actId="20577"/>
          <ac:spMkLst>
            <pc:docMk/>
            <pc:sldMk cId="1332470089" sldId="1261"/>
            <ac:spMk id="5" creationId="{731985F1-A854-FF0C-23C8-8306F6E942BE}"/>
          </ac:spMkLst>
        </pc:spChg>
      </pc:sldChg>
      <pc:sldChg chg="modSp">
        <pc:chgData name="Jablonska, Martyna" userId="S::martyna.jablonska@accenture.com::61db2c6a-f030-4d6e-a1ab-261fc8f36838" providerId="AD" clId="Web-{694484CB-B742-8840-ADCA-9B3089F95CFA}" dt="2023-12-08T12:21:44.143" v="138" actId="20577"/>
        <pc:sldMkLst>
          <pc:docMk/>
          <pc:sldMk cId="3731348096" sldId="1283"/>
        </pc:sldMkLst>
        <pc:spChg chg="mod">
          <ac:chgData name="Jablonska, Martyna" userId="S::martyna.jablonska@accenture.com::61db2c6a-f030-4d6e-a1ab-261fc8f36838" providerId="AD" clId="Web-{694484CB-B742-8840-ADCA-9B3089F95CFA}" dt="2023-12-08T12:21:44.143" v="138" actId="20577"/>
          <ac:spMkLst>
            <pc:docMk/>
            <pc:sldMk cId="3731348096" sldId="1283"/>
            <ac:spMk id="5" creationId="{731985F1-A854-FF0C-23C8-8306F6E942BE}"/>
          </ac:spMkLst>
        </pc:spChg>
      </pc:sldChg>
      <pc:sldChg chg="modSp">
        <pc:chgData name="Jablonska, Martyna" userId="S::martyna.jablonska@accenture.com::61db2c6a-f030-4d6e-a1ab-261fc8f36838" providerId="AD" clId="Web-{694484CB-B742-8840-ADCA-9B3089F95CFA}" dt="2023-12-08T12:22:07.175" v="148" actId="20577"/>
        <pc:sldMkLst>
          <pc:docMk/>
          <pc:sldMk cId="4890678" sldId="1285"/>
        </pc:sldMkLst>
        <pc:spChg chg="mod">
          <ac:chgData name="Jablonska, Martyna" userId="S::martyna.jablonska@accenture.com::61db2c6a-f030-4d6e-a1ab-261fc8f36838" providerId="AD" clId="Web-{694484CB-B742-8840-ADCA-9B3089F95CFA}" dt="2023-12-08T12:22:07.175" v="148" actId="20577"/>
          <ac:spMkLst>
            <pc:docMk/>
            <pc:sldMk cId="4890678" sldId="1285"/>
            <ac:spMk id="5" creationId="{731985F1-A854-FF0C-23C8-8306F6E942BE}"/>
          </ac:spMkLst>
        </pc:spChg>
      </pc:sldChg>
      <pc:sldChg chg="modSp">
        <pc:chgData name="Jablonska, Martyna" userId="S::martyna.jablonska@accenture.com::61db2c6a-f030-4d6e-a1ab-261fc8f36838" providerId="AD" clId="Web-{694484CB-B742-8840-ADCA-9B3089F95CFA}" dt="2023-12-08T12:20:56.157" v="131" actId="20577"/>
        <pc:sldMkLst>
          <pc:docMk/>
          <pc:sldMk cId="3752201324" sldId="1295"/>
        </pc:sldMkLst>
        <pc:spChg chg="mod">
          <ac:chgData name="Jablonska, Martyna" userId="S::martyna.jablonska@accenture.com::61db2c6a-f030-4d6e-a1ab-261fc8f36838" providerId="AD" clId="Web-{694484CB-B742-8840-ADCA-9B3089F95CFA}" dt="2023-12-08T12:20:56.157" v="131" actId="20577"/>
          <ac:spMkLst>
            <pc:docMk/>
            <pc:sldMk cId="3752201324" sldId="1295"/>
            <ac:spMk id="5" creationId="{731985F1-A854-FF0C-23C8-8306F6E942BE}"/>
          </ac:spMkLst>
        </pc:spChg>
      </pc:sldChg>
      <pc:sldChg chg="modSp">
        <pc:chgData name="Jablonska, Martyna" userId="S::martyna.jablonska@accenture.com::61db2c6a-f030-4d6e-a1ab-261fc8f36838" providerId="AD" clId="Web-{694484CB-B742-8840-ADCA-9B3089F95CFA}" dt="2023-12-08T12:22:25.035" v="155" actId="20577"/>
        <pc:sldMkLst>
          <pc:docMk/>
          <pc:sldMk cId="1369299309" sldId="1315"/>
        </pc:sldMkLst>
        <pc:spChg chg="mod">
          <ac:chgData name="Jablonska, Martyna" userId="S::martyna.jablonska@accenture.com::61db2c6a-f030-4d6e-a1ab-261fc8f36838" providerId="AD" clId="Web-{694484CB-B742-8840-ADCA-9B3089F95CFA}" dt="2023-12-08T12:22:25.035" v="155" actId="20577"/>
          <ac:spMkLst>
            <pc:docMk/>
            <pc:sldMk cId="1369299309" sldId="1315"/>
            <ac:spMk id="5" creationId="{731985F1-A854-FF0C-23C8-8306F6E942BE}"/>
          </ac:spMkLst>
        </pc:spChg>
      </pc:sldChg>
      <pc:sldChg chg="modSp">
        <pc:chgData name="Jablonska, Martyna" userId="S::martyna.jablonska@accenture.com::61db2c6a-f030-4d6e-a1ab-261fc8f36838" providerId="AD" clId="Web-{694484CB-B742-8840-ADCA-9B3089F95CFA}" dt="2023-12-08T12:23:38.584" v="175" actId="20577"/>
        <pc:sldMkLst>
          <pc:docMk/>
          <pc:sldMk cId="3274266512" sldId="1318"/>
        </pc:sldMkLst>
        <pc:spChg chg="mod">
          <ac:chgData name="Jablonska, Martyna" userId="S::martyna.jablonska@accenture.com::61db2c6a-f030-4d6e-a1ab-261fc8f36838" providerId="AD" clId="Web-{694484CB-B742-8840-ADCA-9B3089F95CFA}" dt="2023-12-08T12:23:38.584" v="175" actId="20577"/>
          <ac:spMkLst>
            <pc:docMk/>
            <pc:sldMk cId="3274266512" sldId="1318"/>
            <ac:spMk id="5" creationId="{731985F1-A854-FF0C-23C8-8306F6E942BE}"/>
          </ac:spMkLst>
        </pc:spChg>
      </pc:sldChg>
    </pc:docChg>
  </pc:docChgLst>
  <pc:docChgLst>
    <pc:chgData name="Jablonska, Martyna" userId="S::martyna.jablonska@accenture.com::61db2c6a-f030-4d6e-a1ab-261fc8f36838" providerId="AD" clId="Web-{B3672D92-A14D-6590-6292-924743AC39A4}"/>
    <pc:docChg chg="modSld">
      <pc:chgData name="Jablonska, Martyna" userId="S::martyna.jablonska@accenture.com::61db2c6a-f030-4d6e-a1ab-261fc8f36838" providerId="AD" clId="Web-{B3672D92-A14D-6590-6292-924743AC39A4}" dt="2023-12-01T12:17:25.806" v="31" actId="20577"/>
      <pc:docMkLst>
        <pc:docMk/>
      </pc:docMkLst>
      <pc:sldChg chg="addSp delSp modSp">
        <pc:chgData name="Jablonska, Martyna" userId="S::martyna.jablonska@accenture.com::61db2c6a-f030-4d6e-a1ab-261fc8f36838" providerId="AD" clId="Web-{B3672D92-A14D-6590-6292-924743AC39A4}" dt="2023-12-01T12:17:25.806" v="31" actId="20577"/>
        <pc:sldMkLst>
          <pc:docMk/>
          <pc:sldMk cId="1241472327" sldId="1247"/>
        </pc:sldMkLst>
        <pc:spChg chg="add del mod">
          <ac:chgData name="Jablonska, Martyna" userId="S::martyna.jablonska@accenture.com::61db2c6a-f030-4d6e-a1ab-261fc8f36838" providerId="AD" clId="Web-{B3672D92-A14D-6590-6292-924743AC39A4}" dt="2023-12-01T12:17:11.946" v="28" actId="20577"/>
          <ac:spMkLst>
            <pc:docMk/>
            <pc:sldMk cId="1241472327" sldId="1247"/>
            <ac:spMk id="2" creationId="{911674FA-AAB1-290E-AC82-CA87E6310AA5}"/>
          </ac:spMkLst>
        </pc:spChg>
        <pc:spChg chg="mod">
          <ac:chgData name="Jablonska, Martyna" userId="S::martyna.jablonska@accenture.com::61db2c6a-f030-4d6e-a1ab-261fc8f36838" providerId="AD" clId="Web-{B3672D92-A14D-6590-6292-924743AC39A4}" dt="2023-12-01T12:17:25.806" v="31" actId="20577"/>
          <ac:spMkLst>
            <pc:docMk/>
            <pc:sldMk cId="1241472327" sldId="1247"/>
            <ac:spMk id="8" creationId="{A9D0EDE1-319C-F7C6-A99B-9FCF1CAD96E2}"/>
          </ac:spMkLst>
        </pc:spChg>
        <pc:spChg chg="add del mod">
          <ac:chgData name="Jablonska, Martyna" userId="S::martyna.jablonska@accenture.com::61db2c6a-f030-4d6e-a1ab-261fc8f36838" providerId="AD" clId="Web-{B3672D92-A14D-6590-6292-924743AC39A4}" dt="2023-12-01T11:59:29.727" v="12"/>
          <ac:spMkLst>
            <pc:docMk/>
            <pc:sldMk cId="1241472327" sldId="1247"/>
            <ac:spMk id="11" creationId="{452AC22B-A08B-49F9-0EA9-1E6881C62BDE}"/>
          </ac:spMkLst>
        </pc:spChg>
      </pc:sldChg>
    </pc:docChg>
  </pc:docChgLst>
  <pc:docChgLst>
    <pc:chgData name="Korneta, Iga" userId="S::iga.korneta@accenture.com::5bb3f265-4f39-4daa-912c-5caa86b505fb" providerId="AD" clId="Web-{5C1DEF57-D86C-E5DF-94F0-3336DD6BB36F}"/>
    <pc:docChg chg="sldOrd">
      <pc:chgData name="Korneta, Iga" userId="S::iga.korneta@accenture.com::5bb3f265-4f39-4daa-912c-5caa86b505fb" providerId="AD" clId="Web-{5C1DEF57-D86C-E5DF-94F0-3336DD6BB36F}" dt="2024-03-29T11:47:43.049" v="1"/>
      <pc:docMkLst>
        <pc:docMk/>
      </pc:docMkLst>
      <pc:sldChg chg="ord">
        <pc:chgData name="Korneta, Iga" userId="S::iga.korneta@accenture.com::5bb3f265-4f39-4daa-912c-5caa86b505fb" providerId="AD" clId="Web-{5C1DEF57-D86C-E5DF-94F0-3336DD6BB36F}" dt="2024-03-29T11:47:43.049" v="1"/>
        <pc:sldMkLst>
          <pc:docMk/>
          <pc:sldMk cId="3953439156" sldId="1218"/>
        </pc:sldMkLst>
      </pc:sldChg>
      <pc:sldChg chg="ord">
        <pc:chgData name="Korneta, Iga" userId="S::iga.korneta@accenture.com::5bb3f265-4f39-4daa-912c-5caa86b505fb" providerId="AD" clId="Web-{5C1DEF57-D86C-E5DF-94F0-3336DD6BB36F}" dt="2024-03-29T11:47:41.799" v="0"/>
        <pc:sldMkLst>
          <pc:docMk/>
          <pc:sldMk cId="2838923465" sldId="1219"/>
        </pc:sldMkLst>
      </pc:sldChg>
    </pc:docChg>
  </pc:docChgLst>
  <pc:docChgLst>
    <pc:chgData name="Mróz, Edyta" userId="S::edyta.mroz@accenture.com::d039859b-4177-4bb5-bcf4-d033cde24e68" providerId="AD" clId="Web-{9E88AA5E-4695-5833-EAE6-F853767CCE83}"/>
    <pc:docChg chg="modSld">
      <pc:chgData name="Mróz, Edyta" userId="S::edyta.mroz@accenture.com::d039859b-4177-4bb5-bcf4-d033cde24e68" providerId="AD" clId="Web-{9E88AA5E-4695-5833-EAE6-F853767CCE83}" dt="2024-02-16T09:58:59.191" v="37" actId="20577"/>
      <pc:docMkLst>
        <pc:docMk/>
      </pc:docMkLst>
      <pc:sldChg chg="modSp">
        <pc:chgData name="Mróz, Edyta" userId="S::edyta.mroz@accenture.com::d039859b-4177-4bb5-bcf4-d033cde24e68" providerId="AD" clId="Web-{9E88AA5E-4695-5833-EAE6-F853767CCE83}" dt="2024-02-16T09:58:59.191" v="37" actId="20577"/>
        <pc:sldMkLst>
          <pc:docMk/>
          <pc:sldMk cId="4272818943" sldId="1361"/>
        </pc:sldMkLst>
        <pc:spChg chg="mod">
          <ac:chgData name="Mróz, Edyta" userId="S::edyta.mroz@accenture.com::d039859b-4177-4bb5-bcf4-d033cde24e68" providerId="AD" clId="Web-{9E88AA5E-4695-5833-EAE6-F853767CCE83}" dt="2024-02-16T09:44:10.064" v="2" actId="20577"/>
          <ac:spMkLst>
            <pc:docMk/>
            <pc:sldMk cId="4272818943" sldId="1361"/>
            <ac:spMk id="2" creationId="{911674FA-AAB1-290E-AC82-CA87E6310AA5}"/>
          </ac:spMkLst>
        </pc:spChg>
        <pc:spChg chg="mod">
          <ac:chgData name="Mróz, Edyta" userId="S::edyta.mroz@accenture.com::d039859b-4177-4bb5-bcf4-d033cde24e68" providerId="AD" clId="Web-{9E88AA5E-4695-5833-EAE6-F853767CCE83}" dt="2024-02-16T09:58:59.191" v="37" actId="20577"/>
          <ac:spMkLst>
            <pc:docMk/>
            <pc:sldMk cId="4272818943" sldId="1361"/>
            <ac:spMk id="8" creationId="{A9D0EDE1-319C-F7C6-A99B-9FCF1CAD96E2}"/>
          </ac:spMkLst>
        </pc:spChg>
      </pc:sldChg>
    </pc:docChg>
  </pc:docChgLst>
  <pc:docChgLst>
    <pc:chgData name="Matynia, Jan" userId="S::jan.matynia@accenture.com::1875d1cb-629a-43c7-a46a-bf28ab4e7428" providerId="AD" clId="Web-{2F9D9848-BCC3-E350-6455-368F6E294081}"/>
    <pc:docChg chg="modSld sldOrd">
      <pc:chgData name="Matynia, Jan" userId="S::jan.matynia@accenture.com::1875d1cb-629a-43c7-a46a-bf28ab4e7428" providerId="AD" clId="Web-{2F9D9848-BCC3-E350-6455-368F6E294081}" dt="2024-01-30T09:09:19.729" v="72" actId="20577"/>
      <pc:docMkLst>
        <pc:docMk/>
      </pc:docMkLst>
      <pc:sldChg chg="ord">
        <pc:chgData name="Matynia, Jan" userId="S::jan.matynia@accenture.com::1875d1cb-629a-43c7-a46a-bf28ab4e7428" providerId="AD" clId="Web-{2F9D9848-BCC3-E350-6455-368F6E294081}" dt="2024-01-30T09:05:14.361" v="0"/>
        <pc:sldMkLst>
          <pc:docMk/>
          <pc:sldMk cId="3651327801" sldId="1214"/>
        </pc:sldMkLst>
      </pc:sldChg>
      <pc:sldChg chg="modSp">
        <pc:chgData name="Matynia, Jan" userId="S::jan.matynia@accenture.com::1875d1cb-629a-43c7-a46a-bf28ab4e7428" providerId="AD" clId="Web-{2F9D9848-BCC3-E350-6455-368F6E294081}" dt="2024-01-30T09:09:19.729" v="72" actId="20577"/>
        <pc:sldMkLst>
          <pc:docMk/>
          <pc:sldMk cId="1949626962" sldId="1349"/>
        </pc:sldMkLst>
        <pc:spChg chg="mod">
          <ac:chgData name="Matynia, Jan" userId="S::jan.matynia@accenture.com::1875d1cb-629a-43c7-a46a-bf28ab4e7428" providerId="AD" clId="Web-{2F9D9848-BCC3-E350-6455-368F6E294081}" dt="2024-01-30T09:09:19.729" v="72" actId="20577"/>
          <ac:spMkLst>
            <pc:docMk/>
            <pc:sldMk cId="1949626962" sldId="1349"/>
            <ac:spMk id="8" creationId="{9CFFF608-5DCB-85A5-D2CF-77199B9A17D9}"/>
          </ac:spMkLst>
        </pc:spChg>
      </pc:sldChg>
    </pc:docChg>
  </pc:docChgLst>
  <pc:docChgLst>
    <pc:chgData name="Lyu, Yunpeng" userId="S::yunpeng.lyu@accenture.com::ece8a0e2-2b0a-4aea-a155-a791afb4b1aa" providerId="AD" clId="Web-{53FC1E49-8368-B586-B07F-ED36CFFC97C0}"/>
    <pc:docChg chg="modSld">
      <pc:chgData name="Lyu, Yunpeng" userId="S::yunpeng.lyu@accenture.com::ece8a0e2-2b0a-4aea-a155-a791afb4b1aa" providerId="AD" clId="Web-{53FC1E49-8368-B586-B07F-ED36CFFC97C0}" dt="2023-10-30T12:09:11.982" v="4" actId="14100"/>
      <pc:docMkLst>
        <pc:docMk/>
      </pc:docMkLst>
      <pc:sldChg chg="addSp modSp">
        <pc:chgData name="Lyu, Yunpeng" userId="S::yunpeng.lyu@accenture.com::ece8a0e2-2b0a-4aea-a155-a791afb4b1aa" providerId="AD" clId="Web-{53FC1E49-8368-B586-B07F-ED36CFFC97C0}" dt="2023-10-30T12:09:11.982" v="4" actId="14100"/>
        <pc:sldMkLst>
          <pc:docMk/>
          <pc:sldMk cId="1804232919" sldId="1337"/>
        </pc:sldMkLst>
        <pc:picChg chg="add mod">
          <ac:chgData name="Lyu, Yunpeng" userId="S::yunpeng.lyu@accenture.com::ece8a0e2-2b0a-4aea-a155-a791afb4b1aa" providerId="AD" clId="Web-{53FC1E49-8368-B586-B07F-ED36CFFC97C0}" dt="2023-10-30T12:09:11.982" v="4" actId="14100"/>
          <ac:picMkLst>
            <pc:docMk/>
            <pc:sldMk cId="1804232919" sldId="1337"/>
            <ac:picMk id="6" creationId="{2687F2C0-4B00-0F77-6A5B-94BA64B99E1A}"/>
          </ac:picMkLst>
        </pc:picChg>
      </pc:sldChg>
    </pc:docChg>
  </pc:docChgLst>
  <pc:docChgLst>
    <pc:chgData name="Matynia, Jan" userId="S::jan.matynia@accenture.com::1875d1cb-629a-43c7-a46a-bf28ab4e7428" providerId="AD" clId="Web-{553A28DF-1B45-C28D-9964-01971BC76736}"/>
    <pc:docChg chg="modSld">
      <pc:chgData name="Matynia, Jan" userId="S::jan.matynia@accenture.com::1875d1cb-629a-43c7-a46a-bf28ab4e7428" providerId="AD" clId="Web-{553A28DF-1B45-C28D-9964-01971BC76736}" dt="2023-12-06T15:32:39.886" v="150" actId="20577"/>
      <pc:docMkLst>
        <pc:docMk/>
      </pc:docMkLst>
      <pc:sldChg chg="modSp">
        <pc:chgData name="Matynia, Jan" userId="S::jan.matynia@accenture.com::1875d1cb-629a-43c7-a46a-bf28ab4e7428" providerId="AD" clId="Web-{553A28DF-1B45-C28D-9964-01971BC76736}" dt="2023-12-06T15:32:39.886" v="150" actId="20577"/>
        <pc:sldMkLst>
          <pc:docMk/>
          <pc:sldMk cId="1949626962" sldId="1349"/>
        </pc:sldMkLst>
        <pc:spChg chg="mod">
          <ac:chgData name="Matynia, Jan" userId="S::jan.matynia@accenture.com::1875d1cb-629a-43c7-a46a-bf28ab4e7428" providerId="AD" clId="Web-{553A28DF-1B45-C28D-9964-01971BC76736}" dt="2023-12-06T15:32:39.886" v="150" actId="20577"/>
          <ac:spMkLst>
            <pc:docMk/>
            <pc:sldMk cId="1949626962" sldId="1349"/>
            <ac:spMk id="2" creationId="{907A6792-CD02-599B-4146-7772C73B01E3}"/>
          </ac:spMkLst>
        </pc:spChg>
        <pc:spChg chg="mod">
          <ac:chgData name="Matynia, Jan" userId="S::jan.matynia@accenture.com::1875d1cb-629a-43c7-a46a-bf28ab4e7428" providerId="AD" clId="Web-{553A28DF-1B45-C28D-9964-01971BC76736}" dt="2023-12-06T15:21:04.082" v="72" actId="20577"/>
          <ac:spMkLst>
            <pc:docMk/>
            <pc:sldMk cId="1949626962" sldId="1349"/>
            <ac:spMk id="8" creationId="{9CFFF608-5DCB-85A5-D2CF-77199B9A17D9}"/>
          </ac:spMkLst>
        </pc:spChg>
        <pc:spChg chg="mod">
          <ac:chgData name="Matynia, Jan" userId="S::jan.matynia@accenture.com::1875d1cb-629a-43c7-a46a-bf28ab4e7428" providerId="AD" clId="Web-{553A28DF-1B45-C28D-9964-01971BC76736}" dt="2023-12-06T15:23:06.711" v="96" actId="20577"/>
          <ac:spMkLst>
            <pc:docMk/>
            <pc:sldMk cId="1949626962" sldId="1349"/>
            <ac:spMk id="10" creationId="{2ADC3B6D-1669-0947-4FE2-FA2ED3B54A80}"/>
          </ac:spMkLst>
        </pc:spChg>
      </pc:sldChg>
    </pc:docChg>
  </pc:docChgLst>
  <pc:docChgLst>
    <pc:chgData name="Matynia, Jan" userId="S::jan.matynia@accenture.com::1875d1cb-629a-43c7-a46a-bf28ab4e7428" providerId="AD" clId="Web-{38E49C4E-0EAF-08AA-9647-F1E65BC04267}"/>
    <pc:docChg chg="modSld">
      <pc:chgData name="Matynia, Jan" userId="S::jan.matynia@accenture.com::1875d1cb-629a-43c7-a46a-bf28ab4e7428" providerId="AD" clId="Web-{38E49C4E-0EAF-08AA-9647-F1E65BC04267}" dt="2023-12-06T11:02:19.768" v="605" actId="20577"/>
      <pc:docMkLst>
        <pc:docMk/>
      </pc:docMkLst>
      <pc:sldChg chg="modSp">
        <pc:chgData name="Matynia, Jan" userId="S::jan.matynia@accenture.com::1875d1cb-629a-43c7-a46a-bf28ab4e7428" providerId="AD" clId="Web-{38E49C4E-0EAF-08AA-9647-F1E65BC04267}" dt="2023-12-06T11:02:19.768" v="605" actId="20577"/>
        <pc:sldMkLst>
          <pc:docMk/>
          <pc:sldMk cId="1949626962" sldId="1349"/>
        </pc:sldMkLst>
        <pc:spChg chg="mod">
          <ac:chgData name="Matynia, Jan" userId="S::jan.matynia@accenture.com::1875d1cb-629a-43c7-a46a-bf28ab4e7428" providerId="AD" clId="Web-{38E49C4E-0EAF-08AA-9647-F1E65BC04267}" dt="2023-12-06T09:32:28.012" v="267" actId="14100"/>
          <ac:spMkLst>
            <pc:docMk/>
            <pc:sldMk cId="1949626962" sldId="1349"/>
            <ac:spMk id="2" creationId="{907A6792-CD02-599B-4146-7772C73B01E3}"/>
          </ac:spMkLst>
        </pc:spChg>
        <pc:spChg chg="mod">
          <ac:chgData name="Matynia, Jan" userId="S::jan.matynia@accenture.com::1875d1cb-629a-43c7-a46a-bf28ab4e7428" providerId="AD" clId="Web-{38E49C4E-0EAF-08AA-9647-F1E65BC04267}" dt="2023-12-06T10:50:03.956" v="601" actId="20577"/>
          <ac:spMkLst>
            <pc:docMk/>
            <pc:sldMk cId="1949626962" sldId="1349"/>
            <ac:spMk id="7" creationId="{83D1AB77-327B-D8C5-CF7B-688095FA023A}"/>
          </ac:spMkLst>
        </pc:spChg>
        <pc:spChg chg="mod">
          <ac:chgData name="Matynia, Jan" userId="S::jan.matynia@accenture.com::1875d1cb-629a-43c7-a46a-bf28ab4e7428" providerId="AD" clId="Web-{38E49C4E-0EAF-08AA-9647-F1E65BC04267}" dt="2023-12-06T10:48:12.346" v="555" actId="20577"/>
          <ac:spMkLst>
            <pc:docMk/>
            <pc:sldMk cId="1949626962" sldId="1349"/>
            <ac:spMk id="8" creationId="{9CFFF608-5DCB-85A5-D2CF-77199B9A17D9}"/>
          </ac:spMkLst>
        </pc:spChg>
        <pc:spChg chg="mod">
          <ac:chgData name="Matynia, Jan" userId="S::jan.matynia@accenture.com::1875d1cb-629a-43c7-a46a-bf28ab4e7428" providerId="AD" clId="Web-{38E49C4E-0EAF-08AA-9647-F1E65BC04267}" dt="2023-12-06T11:02:19.768" v="605" actId="20577"/>
          <ac:spMkLst>
            <pc:docMk/>
            <pc:sldMk cId="1949626962" sldId="1349"/>
            <ac:spMk id="10" creationId="{2ADC3B6D-1669-0947-4FE2-FA2ED3B54A80}"/>
          </ac:spMkLst>
        </pc:spChg>
      </pc:sldChg>
    </pc:docChg>
  </pc:docChgLst>
  <pc:docChgLst>
    <pc:chgData name="Grodecki, Kacper" userId="S::kacper.grodecki@accenture.com::66464946-23ad-488a-a4ae-208c10497811" providerId="AD" clId="Web-{94A3627F-A105-D678-9D76-C18E878A9CDA}"/>
    <pc:docChg chg="modSld">
      <pc:chgData name="Grodecki, Kacper" userId="S::kacper.grodecki@accenture.com::66464946-23ad-488a-a4ae-208c10497811" providerId="AD" clId="Web-{94A3627F-A105-D678-9D76-C18E878A9CDA}" dt="2023-11-30T10:14:17.413" v="17" actId="20577"/>
      <pc:docMkLst>
        <pc:docMk/>
      </pc:docMkLst>
      <pc:sldChg chg="modSp">
        <pc:chgData name="Grodecki, Kacper" userId="S::kacper.grodecki@accenture.com::66464946-23ad-488a-a4ae-208c10497811" providerId="AD" clId="Web-{94A3627F-A105-D678-9D76-C18E878A9CDA}" dt="2023-11-30T10:14:17.413" v="17" actId="20577"/>
        <pc:sldMkLst>
          <pc:docMk/>
          <pc:sldMk cId="2718533031" sldId="1244"/>
        </pc:sldMkLst>
        <pc:spChg chg="mod">
          <ac:chgData name="Grodecki, Kacper" userId="S::kacper.grodecki@accenture.com::66464946-23ad-488a-a4ae-208c10497811" providerId="AD" clId="Web-{94A3627F-A105-D678-9D76-C18E878A9CDA}" dt="2023-11-30T10:14:17.413" v="17" actId="20577"/>
          <ac:spMkLst>
            <pc:docMk/>
            <pc:sldMk cId="2718533031" sldId="1244"/>
            <ac:spMk id="8" creationId="{8890A3A4-B53A-2281-2F0C-43763D8F3D41}"/>
          </ac:spMkLst>
        </pc:spChg>
      </pc:sldChg>
    </pc:docChg>
  </pc:docChgLst>
  <pc:docChgLst>
    <pc:chgData name="Daniszewski, Rafal" userId="4feb115d-587d-4e72-9e9d-2930f853388a" providerId="ADAL" clId="{FDEEDFEC-2435-46DD-8005-ACDB36980C13}"/>
    <pc:docChg chg="custSel delSld modSld modSection">
      <pc:chgData name="Daniszewski, Rafal" userId="4feb115d-587d-4e72-9e9d-2930f853388a" providerId="ADAL" clId="{FDEEDFEC-2435-46DD-8005-ACDB36980C13}" dt="2024-02-16T14:24:32.506" v="517" actId="404"/>
      <pc:docMkLst>
        <pc:docMk/>
      </pc:docMkLst>
      <pc:sldChg chg="modSp del mod">
        <pc:chgData name="Daniszewski, Rafal" userId="4feb115d-587d-4e72-9e9d-2930f853388a" providerId="ADAL" clId="{FDEEDFEC-2435-46DD-8005-ACDB36980C13}" dt="2024-02-16T14:22:01.655" v="482" actId="2696"/>
        <pc:sldMkLst>
          <pc:docMk/>
          <pc:sldMk cId="2729752082" sldId="1233"/>
        </pc:sldMkLst>
        <pc:spChg chg="mod">
          <ac:chgData name="Daniszewski, Rafal" userId="4feb115d-587d-4e72-9e9d-2930f853388a" providerId="ADAL" clId="{FDEEDFEC-2435-46DD-8005-ACDB36980C13}" dt="2024-01-16T09:23:22.381" v="480" actId="20577"/>
          <ac:spMkLst>
            <pc:docMk/>
            <pc:sldMk cId="2729752082" sldId="1233"/>
            <ac:spMk id="8" creationId="{21B27FAC-F4D8-14FA-E816-E0F5A6718CC9}"/>
          </ac:spMkLst>
        </pc:spChg>
        <pc:spChg chg="mod">
          <ac:chgData name="Daniszewski, Rafal" userId="4feb115d-587d-4e72-9e9d-2930f853388a" providerId="ADAL" clId="{FDEEDFEC-2435-46DD-8005-ACDB36980C13}" dt="2024-01-16T08:11:25.274" v="397" actId="20577"/>
          <ac:spMkLst>
            <pc:docMk/>
            <pc:sldMk cId="2729752082" sldId="1233"/>
            <ac:spMk id="10" creationId="{6544F642-4FD7-D49B-CDFE-2E39F605B09B}"/>
          </ac:spMkLst>
        </pc:spChg>
      </pc:sldChg>
      <pc:sldChg chg="modSp mod">
        <pc:chgData name="Daniszewski, Rafal" userId="4feb115d-587d-4e72-9e9d-2930f853388a" providerId="ADAL" clId="{FDEEDFEC-2435-46DD-8005-ACDB36980C13}" dt="2024-02-16T14:24:32.506" v="517" actId="404"/>
        <pc:sldMkLst>
          <pc:docMk/>
          <pc:sldMk cId="2642955882" sldId="1364"/>
        </pc:sldMkLst>
        <pc:spChg chg="mod">
          <ac:chgData name="Daniszewski, Rafal" userId="4feb115d-587d-4e72-9e9d-2930f853388a" providerId="ADAL" clId="{FDEEDFEC-2435-46DD-8005-ACDB36980C13}" dt="2024-02-16T14:24:32.506" v="517" actId="404"/>
          <ac:spMkLst>
            <pc:docMk/>
            <pc:sldMk cId="2642955882" sldId="1364"/>
            <ac:spMk id="2" creationId="{1692525E-A870-A45E-6DDE-5DA273AC6EED}"/>
          </ac:spMkLst>
        </pc:spChg>
        <pc:spChg chg="mod">
          <ac:chgData name="Daniszewski, Rafal" userId="4feb115d-587d-4e72-9e9d-2930f853388a" providerId="ADAL" clId="{FDEEDFEC-2435-46DD-8005-ACDB36980C13}" dt="2024-02-16T14:24:21.044" v="515" actId="404"/>
          <ac:spMkLst>
            <pc:docMk/>
            <pc:sldMk cId="2642955882" sldId="1364"/>
            <ac:spMk id="3" creationId="{66CC37AE-8AAF-7900-9240-93D574D86204}"/>
          </ac:spMkLst>
        </pc:spChg>
        <pc:spChg chg="mod">
          <ac:chgData name="Daniszewski, Rafal" userId="4feb115d-587d-4e72-9e9d-2930f853388a" providerId="ADAL" clId="{FDEEDFEC-2435-46DD-8005-ACDB36980C13}" dt="2024-02-16T14:23:51.880" v="499" actId="404"/>
          <ac:spMkLst>
            <pc:docMk/>
            <pc:sldMk cId="2642955882" sldId="1364"/>
            <ac:spMk id="8" creationId="{21B27FAC-F4D8-14FA-E816-E0F5A6718CC9}"/>
          </ac:spMkLst>
        </pc:spChg>
      </pc:sldChg>
    </pc:docChg>
  </pc:docChgLst>
  <pc:docChgLst>
    <pc:chgData name="Surdacki, Lukasz" userId="S::lukasz.surdacki@accenture.com::ce123e74-4454-46c1-bb0c-668acd036729" providerId="AD" clId="Web-{DBB10D7E-3B72-11E4-8343-265809F6423D}"/>
    <pc:docChg chg="modSld">
      <pc:chgData name="Surdacki, Lukasz" userId="S::lukasz.surdacki@accenture.com::ce123e74-4454-46c1-bb0c-668acd036729" providerId="AD" clId="Web-{DBB10D7E-3B72-11E4-8343-265809F6423D}" dt="2024-02-15T13:01:05.017" v="12" actId="20577"/>
      <pc:docMkLst>
        <pc:docMk/>
      </pc:docMkLst>
      <pc:sldChg chg="modSp">
        <pc:chgData name="Surdacki, Lukasz" userId="S::lukasz.surdacki@accenture.com::ce123e74-4454-46c1-bb0c-668acd036729" providerId="AD" clId="Web-{DBB10D7E-3B72-11E4-8343-265809F6423D}" dt="2024-02-15T13:01:05.017" v="12" actId="20577"/>
        <pc:sldMkLst>
          <pc:docMk/>
          <pc:sldMk cId="282247140" sldId="1363"/>
        </pc:sldMkLst>
        <pc:spChg chg="mod">
          <ac:chgData name="Surdacki, Lukasz" userId="S::lukasz.surdacki@accenture.com::ce123e74-4454-46c1-bb0c-668acd036729" providerId="AD" clId="Web-{DBB10D7E-3B72-11E4-8343-265809F6423D}" dt="2024-02-15T13:01:05.017" v="12" actId="20577"/>
          <ac:spMkLst>
            <pc:docMk/>
            <pc:sldMk cId="282247140" sldId="1363"/>
            <ac:spMk id="2" creationId="{AAB8BB9D-0FB6-62BF-E1B5-48D59B98FF35}"/>
          </ac:spMkLst>
        </pc:spChg>
        <pc:picChg chg="mod modCrop">
          <ac:chgData name="Surdacki, Lukasz" userId="S::lukasz.surdacki@accenture.com::ce123e74-4454-46c1-bb0c-668acd036729" providerId="AD" clId="Web-{DBB10D7E-3B72-11E4-8343-265809F6423D}" dt="2024-02-15T13:00:43.704" v="9"/>
          <ac:picMkLst>
            <pc:docMk/>
            <pc:sldMk cId="282247140" sldId="1363"/>
            <ac:picMk id="6" creationId="{C8075086-34CA-C65A-590E-3450FAF1CAAA}"/>
          </ac:picMkLst>
        </pc:picChg>
      </pc:sldChg>
    </pc:docChg>
  </pc:docChgLst>
  <pc:docChgLst>
    <pc:chgData name="Ziajko, Kamil" userId="S::kamil.ziajko@accenture.com::6176b88f-0830-4762-9e63-1332ef83e4e7" providerId="AD" clId="Web-{D1616600-2698-CA16-2264-CB1FE10C02E9}"/>
    <pc:docChg chg="modSld">
      <pc:chgData name="Ziajko, Kamil" userId="S::kamil.ziajko@accenture.com::6176b88f-0830-4762-9e63-1332ef83e4e7" providerId="AD" clId="Web-{D1616600-2698-CA16-2264-CB1FE10C02E9}" dt="2024-01-12T12:27:32.094" v="93" actId="20577"/>
      <pc:docMkLst>
        <pc:docMk/>
      </pc:docMkLst>
      <pc:sldChg chg="modSp">
        <pc:chgData name="Ziajko, Kamil" userId="S::kamil.ziajko@accenture.com::6176b88f-0830-4762-9e63-1332ef83e4e7" providerId="AD" clId="Web-{D1616600-2698-CA16-2264-CB1FE10C02E9}" dt="2024-01-12T12:27:32.094" v="93" actId="20577"/>
        <pc:sldMkLst>
          <pc:docMk/>
          <pc:sldMk cId="166479993" sldId="1263"/>
        </pc:sldMkLst>
        <pc:spChg chg="mod">
          <ac:chgData name="Ziajko, Kamil" userId="S::kamil.ziajko@accenture.com::6176b88f-0830-4762-9e63-1332ef83e4e7" providerId="AD" clId="Web-{D1616600-2698-CA16-2264-CB1FE10C02E9}" dt="2024-01-12T12:23:03.663" v="79" actId="20577"/>
          <ac:spMkLst>
            <pc:docMk/>
            <pc:sldMk cId="166479993" sldId="1263"/>
            <ac:spMk id="2" creationId="{911674FA-AAB1-290E-AC82-CA87E6310AA5}"/>
          </ac:spMkLst>
        </pc:spChg>
        <pc:spChg chg="mod">
          <ac:chgData name="Ziajko, Kamil" userId="S::kamil.ziajko@accenture.com::6176b88f-0830-4762-9e63-1332ef83e4e7" providerId="AD" clId="Web-{D1616600-2698-CA16-2264-CB1FE10C02E9}" dt="2024-01-12T12:21:34.254" v="74" actId="20577"/>
          <ac:spMkLst>
            <pc:docMk/>
            <pc:sldMk cId="166479993" sldId="1263"/>
            <ac:spMk id="3" creationId="{24306D85-71DB-A43C-EE9F-A05E2C3B843E}"/>
          </ac:spMkLst>
        </pc:spChg>
        <pc:spChg chg="mod">
          <ac:chgData name="Ziajko, Kamil" userId="S::kamil.ziajko@accenture.com::6176b88f-0830-4762-9e63-1332ef83e4e7" providerId="AD" clId="Web-{D1616600-2698-CA16-2264-CB1FE10C02E9}" dt="2024-01-12T12:27:32.094" v="93" actId="20577"/>
          <ac:spMkLst>
            <pc:docMk/>
            <pc:sldMk cId="166479993" sldId="1263"/>
            <ac:spMk id="5" creationId="{731985F1-A854-FF0C-23C8-8306F6E942BE}"/>
          </ac:spMkLst>
        </pc:spChg>
        <pc:spChg chg="mod">
          <ac:chgData name="Ziajko, Kamil" userId="S::kamil.ziajko@accenture.com::6176b88f-0830-4762-9e63-1332ef83e4e7" providerId="AD" clId="Web-{D1616600-2698-CA16-2264-CB1FE10C02E9}" dt="2024-01-12T12:22:01.146" v="75" actId="1076"/>
          <ac:spMkLst>
            <pc:docMk/>
            <pc:sldMk cId="166479993" sldId="1263"/>
            <ac:spMk id="7" creationId="{96CAE378-94B4-0269-C4D1-EBD2C607BCC3}"/>
          </ac:spMkLst>
        </pc:spChg>
        <pc:spChg chg="mod">
          <ac:chgData name="Ziajko, Kamil" userId="S::kamil.ziajko@accenture.com::6176b88f-0830-4762-9e63-1332ef83e4e7" providerId="AD" clId="Web-{D1616600-2698-CA16-2264-CB1FE10C02E9}" dt="2024-01-12T12:24:48.526" v="81" actId="20577"/>
          <ac:spMkLst>
            <pc:docMk/>
            <pc:sldMk cId="166479993" sldId="1263"/>
            <ac:spMk id="8" creationId="{A9D0EDE1-319C-F7C6-A99B-9FCF1CAD96E2}"/>
          </ac:spMkLst>
        </pc:spChg>
        <pc:spChg chg="mod">
          <ac:chgData name="Ziajko, Kamil" userId="S::kamil.ziajko@accenture.com::6176b88f-0830-4762-9e63-1332ef83e4e7" providerId="AD" clId="Web-{D1616600-2698-CA16-2264-CB1FE10C02E9}" dt="2024-01-12T12:20:06.595" v="60" actId="20577"/>
          <ac:spMkLst>
            <pc:docMk/>
            <pc:sldMk cId="166479993" sldId="1263"/>
            <ac:spMk id="9" creationId="{698ADF03-8FE6-EE63-15FA-BCDD7A6C1908}"/>
          </ac:spMkLst>
        </pc:spChg>
        <pc:spChg chg="mod">
          <ac:chgData name="Ziajko, Kamil" userId="S::kamil.ziajko@accenture.com::6176b88f-0830-4762-9e63-1332ef83e4e7" providerId="AD" clId="Web-{D1616600-2698-CA16-2264-CB1FE10C02E9}" dt="2024-01-12T12:20:48.347" v="69" actId="20577"/>
          <ac:spMkLst>
            <pc:docMk/>
            <pc:sldMk cId="166479993" sldId="1263"/>
            <ac:spMk id="10" creationId="{68D47195-2257-27FD-9554-F23924FA4345}"/>
          </ac:spMkLst>
        </pc:spChg>
        <pc:picChg chg="mod modCrop">
          <ac:chgData name="Ziajko, Kamil" userId="S::kamil.ziajko@accenture.com::6176b88f-0830-4762-9e63-1332ef83e4e7" providerId="AD" clId="Web-{D1616600-2698-CA16-2264-CB1FE10C02E9}" dt="2024-01-12T12:17:58.091" v="2"/>
          <ac:picMkLst>
            <pc:docMk/>
            <pc:sldMk cId="166479993" sldId="1263"/>
            <ac:picMk id="22" creationId="{4926858A-D150-3EEF-8760-F93AF53264D6}"/>
          </ac:picMkLst>
        </pc:picChg>
      </pc:sldChg>
    </pc:docChg>
  </pc:docChgLst>
  <pc:docChgLst>
    <pc:chgData name="Papiez, Agata" userId="28a728a7-8f05-485f-b817-72ac5dddbac3" providerId="ADAL" clId="{9715A0D4-D1B4-4F1D-B183-18FCB142DF88}"/>
    <pc:docChg chg="undo custSel modSld">
      <pc:chgData name="Papiez, Agata" userId="28a728a7-8f05-485f-b817-72ac5dddbac3" providerId="ADAL" clId="{9715A0D4-D1B4-4F1D-B183-18FCB142DF88}" dt="2024-02-09T12:27:34.317" v="8" actId="20577"/>
      <pc:docMkLst>
        <pc:docMk/>
      </pc:docMkLst>
      <pc:sldChg chg="modSp mod">
        <pc:chgData name="Papiez, Agata" userId="28a728a7-8f05-485f-b817-72ac5dddbac3" providerId="ADAL" clId="{9715A0D4-D1B4-4F1D-B183-18FCB142DF88}" dt="2024-02-07T15:47:47.720" v="3" actId="20577"/>
        <pc:sldMkLst>
          <pc:docMk/>
          <pc:sldMk cId="2670694553" sldId="1236"/>
        </pc:sldMkLst>
        <pc:spChg chg="mod">
          <ac:chgData name="Papiez, Agata" userId="28a728a7-8f05-485f-b817-72ac5dddbac3" providerId="ADAL" clId="{9715A0D4-D1B4-4F1D-B183-18FCB142DF88}" dt="2024-02-07T15:47:47.720" v="3" actId="20577"/>
          <ac:spMkLst>
            <pc:docMk/>
            <pc:sldMk cId="2670694553" sldId="1236"/>
            <ac:spMk id="8" creationId="{21B27FAC-F4D8-14FA-E816-E0F5A6718CC9}"/>
          </ac:spMkLst>
        </pc:spChg>
      </pc:sldChg>
      <pc:sldChg chg="addSp delSp mod">
        <pc:chgData name="Papiez, Agata" userId="28a728a7-8f05-485f-b817-72ac5dddbac3" providerId="ADAL" clId="{9715A0D4-D1B4-4F1D-B183-18FCB142DF88}" dt="2024-02-07T15:46:30.117" v="1" actId="22"/>
        <pc:sldMkLst>
          <pc:docMk/>
          <pc:sldMk cId="166479993" sldId="1263"/>
        </pc:sldMkLst>
        <pc:picChg chg="add del">
          <ac:chgData name="Papiez, Agata" userId="28a728a7-8f05-485f-b817-72ac5dddbac3" providerId="ADAL" clId="{9715A0D4-D1B4-4F1D-B183-18FCB142DF88}" dt="2024-02-07T15:46:30.117" v="1" actId="22"/>
          <ac:picMkLst>
            <pc:docMk/>
            <pc:sldMk cId="166479993" sldId="1263"/>
            <ac:picMk id="11" creationId="{950AE58D-9E43-9694-BD1D-C6E6A54165BA}"/>
          </ac:picMkLst>
        </pc:picChg>
      </pc:sldChg>
      <pc:sldChg chg="modSp mod">
        <pc:chgData name="Papiez, Agata" userId="28a728a7-8f05-485f-b817-72ac5dddbac3" providerId="ADAL" clId="{9715A0D4-D1B4-4F1D-B183-18FCB142DF88}" dt="2024-02-09T12:27:34.317" v="8" actId="20577"/>
        <pc:sldMkLst>
          <pc:docMk/>
          <pc:sldMk cId="2438456068" sldId="1280"/>
        </pc:sldMkLst>
        <pc:spChg chg="mod">
          <ac:chgData name="Papiez, Agata" userId="28a728a7-8f05-485f-b817-72ac5dddbac3" providerId="ADAL" clId="{9715A0D4-D1B4-4F1D-B183-18FCB142DF88}" dt="2024-02-09T12:16:43.159" v="5" actId="20577"/>
          <ac:spMkLst>
            <pc:docMk/>
            <pc:sldMk cId="2438456068" sldId="1280"/>
            <ac:spMk id="8" creationId="{A9D0EDE1-319C-F7C6-A99B-9FCF1CAD96E2}"/>
          </ac:spMkLst>
        </pc:spChg>
        <pc:spChg chg="mod">
          <ac:chgData name="Papiez, Agata" userId="28a728a7-8f05-485f-b817-72ac5dddbac3" providerId="ADAL" clId="{9715A0D4-D1B4-4F1D-B183-18FCB142DF88}" dt="2024-02-09T12:27:34.317" v="8" actId="20577"/>
          <ac:spMkLst>
            <pc:docMk/>
            <pc:sldMk cId="2438456068" sldId="1280"/>
            <ac:spMk id="10" creationId="{68D47195-2257-27FD-9554-F23924FA4345}"/>
          </ac:spMkLst>
        </pc:spChg>
      </pc:sldChg>
    </pc:docChg>
  </pc:docChgLst>
  <pc:docChgLst>
    <pc:chgData name="Mróz, Edyta" userId="S::edyta.mroz@accenture.com::d039859b-4177-4bb5-bcf4-d033cde24e68" providerId="AD" clId="Web-{D3A37A9C-A1FB-C57E-AB47-33AFB461CCCE}"/>
    <pc:docChg chg="addSld modSld modSection">
      <pc:chgData name="Mróz, Edyta" userId="S::edyta.mroz@accenture.com::d039859b-4177-4bb5-bcf4-d033cde24e68" providerId="AD" clId="Web-{D3A37A9C-A1FB-C57E-AB47-33AFB461CCCE}" dt="2024-03-20T09:03:55.760" v="987" actId="20577"/>
      <pc:docMkLst>
        <pc:docMk/>
      </pc:docMkLst>
      <pc:sldChg chg="modSp new">
        <pc:chgData name="Mróz, Edyta" userId="S::edyta.mroz@accenture.com::d039859b-4177-4bb5-bcf4-d033cde24e68" providerId="AD" clId="Web-{D3A37A9C-A1FB-C57E-AB47-33AFB461CCCE}" dt="2024-03-20T09:03:55.760" v="987" actId="20577"/>
        <pc:sldMkLst>
          <pc:docMk/>
          <pc:sldMk cId="3997245792" sldId="1370"/>
        </pc:sldMkLst>
        <pc:spChg chg="mod">
          <ac:chgData name="Mróz, Edyta" userId="S::edyta.mroz@accenture.com::d039859b-4177-4bb5-bcf4-d033cde24e68" providerId="AD" clId="Web-{D3A37A9C-A1FB-C57E-AB47-33AFB461CCCE}" dt="2024-03-20T08:51:21.115" v="983" actId="20577"/>
          <ac:spMkLst>
            <pc:docMk/>
            <pc:sldMk cId="3997245792" sldId="1370"/>
            <ac:spMk id="2" creationId="{CB8CAD38-0A53-4C59-B010-496EC59972DC}"/>
          </ac:spMkLst>
        </pc:spChg>
        <pc:spChg chg="mod">
          <ac:chgData name="Mróz, Edyta" userId="S::edyta.mroz@accenture.com::d039859b-4177-4bb5-bcf4-d033cde24e68" providerId="AD" clId="Web-{D3A37A9C-A1FB-C57E-AB47-33AFB461CCCE}" dt="2024-03-20T08:54:36.753" v="986" actId="20577"/>
          <ac:spMkLst>
            <pc:docMk/>
            <pc:sldMk cId="3997245792" sldId="1370"/>
            <ac:spMk id="3" creationId="{0C8892EE-51D9-E223-75CD-84D84162D8CA}"/>
          </ac:spMkLst>
        </pc:spChg>
        <pc:spChg chg="mod">
          <ac:chgData name="Mróz, Edyta" userId="S::edyta.mroz@accenture.com::d039859b-4177-4bb5-bcf4-d033cde24e68" providerId="AD" clId="Web-{D3A37A9C-A1FB-C57E-AB47-33AFB461CCCE}" dt="2024-03-20T08:13:28.680" v="7" actId="20577"/>
          <ac:spMkLst>
            <pc:docMk/>
            <pc:sldMk cId="3997245792" sldId="1370"/>
            <ac:spMk id="4" creationId="{CE9EA535-D4B8-4C6F-6738-BEE872557C0A}"/>
          </ac:spMkLst>
        </pc:spChg>
        <pc:spChg chg="mod">
          <ac:chgData name="Mróz, Edyta" userId="S::edyta.mroz@accenture.com::d039859b-4177-4bb5-bcf4-d033cde24e68" providerId="AD" clId="Web-{D3A37A9C-A1FB-C57E-AB47-33AFB461CCCE}" dt="2024-03-20T08:29:50.481" v="581" actId="20577"/>
          <ac:spMkLst>
            <pc:docMk/>
            <pc:sldMk cId="3997245792" sldId="1370"/>
            <ac:spMk id="5" creationId="{5E35B68A-401F-18D2-89B2-FA79BD02E7A2}"/>
          </ac:spMkLst>
        </pc:spChg>
        <pc:spChg chg="mod">
          <ac:chgData name="Mróz, Edyta" userId="S::edyta.mroz@accenture.com::d039859b-4177-4bb5-bcf4-d033cde24e68" providerId="AD" clId="Web-{D3A37A9C-A1FB-C57E-AB47-33AFB461CCCE}" dt="2024-03-20T08:16:00.643" v="91" actId="20577"/>
          <ac:spMkLst>
            <pc:docMk/>
            <pc:sldMk cId="3997245792" sldId="1370"/>
            <ac:spMk id="7" creationId="{F9551141-EC53-159E-A2F5-B16E6E9166D9}"/>
          </ac:spMkLst>
        </pc:spChg>
        <pc:spChg chg="mod">
          <ac:chgData name="Mróz, Edyta" userId="S::edyta.mroz@accenture.com::d039859b-4177-4bb5-bcf4-d033cde24e68" providerId="AD" clId="Web-{D3A37A9C-A1FB-C57E-AB47-33AFB461CCCE}" dt="2024-03-20T08:24:37.382" v="452" actId="20577"/>
          <ac:spMkLst>
            <pc:docMk/>
            <pc:sldMk cId="3997245792" sldId="1370"/>
            <ac:spMk id="8" creationId="{B1C73A75-415C-4DC9-F0FA-16EC37568558}"/>
          </ac:spMkLst>
        </pc:spChg>
        <pc:spChg chg="mod">
          <ac:chgData name="Mróz, Edyta" userId="S::edyta.mroz@accenture.com::d039859b-4177-4bb5-bcf4-d033cde24e68" providerId="AD" clId="Web-{D3A37A9C-A1FB-C57E-AB47-33AFB461CCCE}" dt="2024-03-20T08:17:12.351" v="123" actId="20577"/>
          <ac:spMkLst>
            <pc:docMk/>
            <pc:sldMk cId="3997245792" sldId="1370"/>
            <ac:spMk id="9" creationId="{29BB9AF5-FF48-FC65-825E-BED84FFBF4EB}"/>
          </ac:spMkLst>
        </pc:spChg>
        <pc:spChg chg="mod">
          <ac:chgData name="Mróz, Edyta" userId="S::edyta.mroz@accenture.com::d039859b-4177-4bb5-bcf4-d033cde24e68" providerId="AD" clId="Web-{D3A37A9C-A1FB-C57E-AB47-33AFB461CCCE}" dt="2024-03-20T09:03:55.760" v="987" actId="20577"/>
          <ac:spMkLst>
            <pc:docMk/>
            <pc:sldMk cId="3997245792" sldId="1370"/>
            <ac:spMk id="10" creationId="{F8EFAB05-5F8D-11F1-8B94-E0E4EE0333DC}"/>
          </ac:spMkLst>
        </pc:spChg>
      </pc:sldChg>
    </pc:docChg>
  </pc:docChgLst>
  <pc:docChgLst>
    <pc:chgData name="Gortych, Damian" userId="S::damian.gortych@accenture.com::b8f47322-7dd0-4de6-893a-0dd5c843a08f" providerId="AD" clId="Web-{338C558F-2269-42F4-8E69-9A31B217764C}"/>
    <pc:docChg chg="modSld">
      <pc:chgData name="Gortych, Damian" userId="S::damian.gortych@accenture.com::b8f47322-7dd0-4de6-893a-0dd5c843a08f" providerId="AD" clId="Web-{338C558F-2269-42F4-8E69-9A31B217764C}" dt="2024-03-27T20:54:54.499" v="32" actId="20577"/>
      <pc:docMkLst>
        <pc:docMk/>
      </pc:docMkLst>
      <pc:sldChg chg="modSp">
        <pc:chgData name="Gortych, Damian" userId="S::damian.gortych@accenture.com::b8f47322-7dd0-4de6-893a-0dd5c843a08f" providerId="AD" clId="Web-{338C558F-2269-42F4-8E69-9A31B217764C}" dt="2024-03-27T20:54:54.499" v="32" actId="20577"/>
        <pc:sldMkLst>
          <pc:docMk/>
          <pc:sldMk cId="2847091332" sldId="1368"/>
        </pc:sldMkLst>
        <pc:spChg chg="mod">
          <ac:chgData name="Gortych, Damian" userId="S::damian.gortych@accenture.com::b8f47322-7dd0-4de6-893a-0dd5c843a08f" providerId="AD" clId="Web-{338C558F-2269-42F4-8E69-9A31B217764C}" dt="2024-03-27T20:50:15.191" v="2" actId="20577"/>
          <ac:spMkLst>
            <pc:docMk/>
            <pc:sldMk cId="2847091332" sldId="1368"/>
            <ac:spMk id="7" creationId="{B4F12F25-F5B8-1D4F-D9E8-1A52C10C0EA3}"/>
          </ac:spMkLst>
        </pc:spChg>
        <pc:spChg chg="mod">
          <ac:chgData name="Gortych, Damian" userId="S::damian.gortych@accenture.com::b8f47322-7dd0-4de6-893a-0dd5c843a08f" providerId="AD" clId="Web-{338C558F-2269-42F4-8E69-9A31B217764C}" dt="2024-03-27T20:54:54.499" v="32" actId="20577"/>
          <ac:spMkLst>
            <pc:docMk/>
            <pc:sldMk cId="2847091332" sldId="1368"/>
            <ac:spMk id="8" creationId="{37C82AA2-F4DC-10F4-AB52-8FC1F24EB6E2}"/>
          </ac:spMkLst>
        </pc:spChg>
      </pc:sldChg>
    </pc:docChg>
  </pc:docChgLst>
  <pc:docChgLst>
    <pc:chgData name="Mioduszewska, Joanna" userId="81ce7990-eaad-4e2f-8cfd-9d7aecd250dd" providerId="ADAL" clId="{16C41AA7-2DAB-4F97-B4A3-A573D168CB5A}"/>
    <pc:docChg chg="undo custSel addSld delSld modSld modSection">
      <pc:chgData name="Mioduszewska, Joanna" userId="81ce7990-eaad-4e2f-8cfd-9d7aecd250dd" providerId="ADAL" clId="{16C41AA7-2DAB-4F97-B4A3-A573D168CB5A}" dt="2024-03-20T08:59:33.318" v="2" actId="2890"/>
      <pc:docMkLst>
        <pc:docMk/>
      </pc:docMkLst>
      <pc:sldChg chg="modSp mod">
        <pc:chgData name="Mioduszewska, Joanna" userId="81ce7990-eaad-4e2f-8cfd-9d7aecd250dd" providerId="ADAL" clId="{16C41AA7-2DAB-4F97-B4A3-A573D168CB5A}" dt="2024-03-20T08:59:10.893" v="0" actId="20577"/>
        <pc:sldMkLst>
          <pc:docMk/>
          <pc:sldMk cId="4272818943" sldId="1361"/>
        </pc:sldMkLst>
        <pc:spChg chg="mod">
          <ac:chgData name="Mioduszewska, Joanna" userId="81ce7990-eaad-4e2f-8cfd-9d7aecd250dd" providerId="ADAL" clId="{16C41AA7-2DAB-4F97-B4A3-A573D168CB5A}" dt="2024-03-20T08:59:10.893" v="0" actId="20577"/>
          <ac:spMkLst>
            <pc:docMk/>
            <pc:sldMk cId="4272818943" sldId="1361"/>
            <ac:spMk id="10" creationId="{68D47195-2257-27FD-9554-F23924FA4345}"/>
          </ac:spMkLst>
        </pc:spChg>
      </pc:sldChg>
      <pc:sldChg chg="add del">
        <pc:chgData name="Mioduszewska, Joanna" userId="81ce7990-eaad-4e2f-8cfd-9d7aecd250dd" providerId="ADAL" clId="{16C41AA7-2DAB-4F97-B4A3-A573D168CB5A}" dt="2024-03-20T08:59:33.318" v="2" actId="2890"/>
        <pc:sldMkLst>
          <pc:docMk/>
          <pc:sldMk cId="3096272396" sldId="1371"/>
        </pc:sldMkLst>
      </pc:sldChg>
    </pc:docChg>
  </pc:docChgLst>
  <pc:docChgLst>
    <pc:chgData name="Kuczak, Tomasz" userId="85a780f3-dce4-4b55-be54-db686ad8418d" providerId="ADAL" clId="{0557388C-7151-4E70-99F2-4561F0AD13FD}"/>
    <pc:docChg chg="undo custSel modSld">
      <pc:chgData name="Kuczak, Tomasz" userId="85a780f3-dce4-4b55-be54-db686ad8418d" providerId="ADAL" clId="{0557388C-7151-4E70-99F2-4561F0AD13FD}" dt="2023-10-24T06:54:46.709" v="5" actId="478"/>
      <pc:docMkLst>
        <pc:docMk/>
      </pc:docMkLst>
      <pc:sldChg chg="addSp delSp modSp mod">
        <pc:chgData name="Kuczak, Tomasz" userId="85a780f3-dce4-4b55-be54-db686ad8418d" providerId="ADAL" clId="{0557388C-7151-4E70-99F2-4561F0AD13FD}" dt="2023-10-24T06:54:46.709" v="5" actId="478"/>
        <pc:sldMkLst>
          <pc:docMk/>
          <pc:sldMk cId="1332470089" sldId="1261"/>
        </pc:sldMkLst>
        <pc:spChg chg="add del mod">
          <ac:chgData name="Kuczak, Tomasz" userId="85a780f3-dce4-4b55-be54-db686ad8418d" providerId="ADAL" clId="{0557388C-7151-4E70-99F2-4561F0AD13FD}" dt="2023-10-24T06:54:46.709" v="5" actId="478"/>
          <ac:spMkLst>
            <pc:docMk/>
            <pc:sldMk cId="1332470089" sldId="1261"/>
            <ac:spMk id="11" creationId="{D66F33A3-9D7F-66F5-F388-414B571193D1}"/>
          </ac:spMkLst>
        </pc:spChg>
        <pc:picChg chg="add del">
          <ac:chgData name="Kuczak, Tomasz" userId="85a780f3-dce4-4b55-be54-db686ad8418d" providerId="ADAL" clId="{0557388C-7151-4E70-99F2-4561F0AD13FD}" dt="2023-10-24T06:54:46.709" v="5" actId="478"/>
          <ac:picMkLst>
            <pc:docMk/>
            <pc:sldMk cId="1332470089" sldId="1261"/>
            <ac:picMk id="12" creationId="{138093C6-4564-A7A6-83AB-5676E39FD75D}"/>
          </ac:picMkLst>
        </pc:picChg>
        <pc:picChg chg="add del mod">
          <ac:chgData name="Kuczak, Tomasz" userId="85a780f3-dce4-4b55-be54-db686ad8418d" providerId="ADAL" clId="{0557388C-7151-4E70-99F2-4561F0AD13FD}" dt="2023-10-24T06:54:46.337" v="4"/>
          <ac:picMkLst>
            <pc:docMk/>
            <pc:sldMk cId="1332470089" sldId="1261"/>
            <ac:picMk id="13" creationId="{E5ECDF75-A0B8-DE85-989A-7FBE84076777}"/>
          </ac:picMkLst>
        </pc:picChg>
      </pc:sldChg>
    </pc:docChg>
  </pc:docChgLst>
  <pc:docChgLst>
    <pc:chgData name="Hachim, Adel" userId="S::adel.hachim@accenture.com::35b68745-81ff-4c11-956b-d3a71da06ada" providerId="AD" clId="Web-{8ADECA66-03D1-C965-84C0-782161F2823B}"/>
    <pc:docChg chg="modSld sldOrd">
      <pc:chgData name="Hachim, Adel" userId="S::adel.hachim@accenture.com::35b68745-81ff-4c11-956b-d3a71da06ada" providerId="AD" clId="Web-{8ADECA66-03D1-C965-84C0-782161F2823B}" dt="2024-01-18T14:33:03.760" v="172" actId="20577"/>
      <pc:docMkLst>
        <pc:docMk/>
      </pc:docMkLst>
      <pc:sldChg chg="ord">
        <pc:chgData name="Hachim, Adel" userId="S::adel.hachim@accenture.com::35b68745-81ff-4c11-956b-d3a71da06ada" providerId="AD" clId="Web-{8ADECA66-03D1-C965-84C0-782161F2823B}" dt="2024-01-18T14:30:20.551" v="149"/>
        <pc:sldMkLst>
          <pc:docMk/>
          <pc:sldMk cId="2732506282" sldId="1246"/>
        </pc:sldMkLst>
      </pc:sldChg>
      <pc:sldChg chg="modSp">
        <pc:chgData name="Hachim, Adel" userId="S::adel.hachim@accenture.com::35b68745-81ff-4c11-956b-d3a71da06ada" providerId="AD" clId="Web-{8ADECA66-03D1-C965-84C0-782161F2823B}" dt="2024-01-18T14:33:03.760" v="172" actId="20577"/>
        <pc:sldMkLst>
          <pc:docMk/>
          <pc:sldMk cId="3110582467" sldId="1348"/>
        </pc:sldMkLst>
        <pc:spChg chg="mod">
          <ac:chgData name="Hachim, Adel" userId="S::adel.hachim@accenture.com::35b68745-81ff-4c11-956b-d3a71da06ada" providerId="AD" clId="Web-{8ADECA66-03D1-C965-84C0-782161F2823B}" dt="2024-01-18T14:33:03.760" v="172" actId="20577"/>
          <ac:spMkLst>
            <pc:docMk/>
            <pc:sldMk cId="3110582467" sldId="1348"/>
            <ac:spMk id="10" creationId="{7F4538DC-45FB-A8B8-9BDE-A8EA913481D9}"/>
          </ac:spMkLst>
        </pc:spChg>
      </pc:sldChg>
    </pc:docChg>
  </pc:docChgLst>
  <pc:docChgLst>
    <pc:chgData name="Mika, Dominik" userId="S::dominik.mika@accenture.com::efccaf76-cde9-4a4d-a77e-bc633d306326" providerId="AD" clId="Web-{7FD57FF3-A8BF-1957-ED24-44791E535AB3}"/>
    <pc:docChg chg="modSld">
      <pc:chgData name="Mika, Dominik" userId="S::dominik.mika@accenture.com::efccaf76-cde9-4a4d-a77e-bc633d306326" providerId="AD" clId="Web-{7FD57FF3-A8BF-1957-ED24-44791E535AB3}" dt="2023-12-08T12:43:32.729" v="68" actId="20577"/>
      <pc:docMkLst>
        <pc:docMk/>
      </pc:docMkLst>
      <pc:sldChg chg="modSp">
        <pc:chgData name="Mika, Dominik" userId="S::dominik.mika@accenture.com::efccaf76-cde9-4a4d-a77e-bc633d306326" providerId="AD" clId="Web-{7FD57FF3-A8BF-1957-ED24-44791E535AB3}" dt="2023-12-08T12:43:32.729" v="68" actId="20577"/>
        <pc:sldMkLst>
          <pc:docMk/>
          <pc:sldMk cId="4109088728" sldId="1355"/>
        </pc:sldMkLst>
        <pc:spChg chg="mod">
          <ac:chgData name="Mika, Dominik" userId="S::dominik.mika@accenture.com::efccaf76-cde9-4a4d-a77e-bc633d306326" providerId="AD" clId="Web-{7FD57FF3-A8BF-1957-ED24-44791E535AB3}" dt="2023-12-08T12:43:32.729" v="68" actId="20577"/>
          <ac:spMkLst>
            <pc:docMk/>
            <pc:sldMk cId="4109088728" sldId="1355"/>
            <ac:spMk id="10" creationId="{2ADC3B6D-1669-0947-4FE2-FA2ED3B54A80}"/>
          </ac:spMkLst>
        </pc:spChg>
      </pc:sldChg>
    </pc:docChg>
  </pc:docChgLst>
  <pc:docChgLst>
    <pc:chgData name="Parol, Dariusz" userId="cc06662d-a6b4-4211-9222-1a2bd36ad8d6" providerId="ADAL" clId="{6934ED54-EB5C-4247-B248-19AB5FE1F423}"/>
    <pc:docChg chg="modSld">
      <pc:chgData name="Parol, Dariusz" userId="cc06662d-a6b4-4211-9222-1a2bd36ad8d6" providerId="ADAL" clId="{6934ED54-EB5C-4247-B248-19AB5FE1F423}" dt="2024-03-20T07:35:13.036" v="8" actId="14100"/>
      <pc:docMkLst>
        <pc:docMk/>
      </pc:docMkLst>
      <pc:sldChg chg="modSp mod">
        <pc:chgData name="Parol, Dariusz" userId="cc06662d-a6b4-4211-9222-1a2bd36ad8d6" providerId="ADAL" clId="{6934ED54-EB5C-4247-B248-19AB5FE1F423}" dt="2024-03-20T07:35:13.036" v="8" actId="14100"/>
        <pc:sldMkLst>
          <pc:docMk/>
          <pc:sldMk cId="548016973" sldId="1334"/>
        </pc:sldMkLst>
        <pc:picChg chg="mod ord">
          <ac:chgData name="Parol, Dariusz" userId="cc06662d-a6b4-4211-9222-1a2bd36ad8d6" providerId="ADAL" clId="{6934ED54-EB5C-4247-B248-19AB5FE1F423}" dt="2024-03-20T07:35:13.036" v="8" actId="14100"/>
          <ac:picMkLst>
            <pc:docMk/>
            <pc:sldMk cId="548016973" sldId="1334"/>
            <ac:picMk id="12" creationId="{330D943C-C506-7194-114F-0E364CC7E7D1}"/>
          </ac:picMkLst>
        </pc:picChg>
      </pc:sldChg>
    </pc:docChg>
  </pc:docChgLst>
  <pc:docChgLst>
    <pc:chgData name="Manchakadavath, Akshay" userId="S::a.manchakadavath@accenture.com::38a8ba32-d3a3-4341-a008-894f102ded66" providerId="AD" clId="Web-{CEF6053A-2216-75CB-DF00-F3B1EB921F46}"/>
    <pc:docChg chg="modSld">
      <pc:chgData name="Manchakadavath, Akshay" userId="S::a.manchakadavath@accenture.com::38a8ba32-d3a3-4341-a008-894f102ded66" providerId="AD" clId="Web-{CEF6053A-2216-75CB-DF00-F3B1EB921F46}" dt="2023-12-13T22:28:15.161" v="1169" actId="20577"/>
      <pc:docMkLst>
        <pc:docMk/>
      </pc:docMkLst>
      <pc:sldChg chg="modSp">
        <pc:chgData name="Manchakadavath, Akshay" userId="S::a.manchakadavath@accenture.com::38a8ba32-d3a3-4341-a008-894f102ded66" providerId="AD" clId="Web-{CEF6053A-2216-75CB-DF00-F3B1EB921F46}" dt="2023-12-13T22:28:15.161" v="1169" actId="20577"/>
        <pc:sldMkLst>
          <pc:docMk/>
          <pc:sldMk cId="2654585378" sldId="1331"/>
        </pc:sldMkLst>
        <pc:spChg chg="mod">
          <ac:chgData name="Manchakadavath, Akshay" userId="S::a.manchakadavath@accenture.com::38a8ba32-d3a3-4341-a008-894f102ded66" providerId="AD" clId="Web-{CEF6053A-2216-75CB-DF00-F3B1EB921F46}" dt="2023-12-13T22:20:54.442" v="1136" actId="20577"/>
          <ac:spMkLst>
            <pc:docMk/>
            <pc:sldMk cId="2654585378" sldId="1331"/>
            <ac:spMk id="8" creationId="{A9D0EDE1-319C-F7C6-A99B-9FCF1CAD96E2}"/>
          </ac:spMkLst>
        </pc:spChg>
        <pc:spChg chg="mod">
          <ac:chgData name="Manchakadavath, Akshay" userId="S::a.manchakadavath@accenture.com::38a8ba32-d3a3-4341-a008-894f102ded66" providerId="AD" clId="Web-{CEF6053A-2216-75CB-DF00-F3B1EB921F46}" dt="2023-12-13T22:28:15.161" v="1169" actId="20577"/>
          <ac:spMkLst>
            <pc:docMk/>
            <pc:sldMk cId="2654585378" sldId="1331"/>
            <ac:spMk id="10" creationId="{68D47195-2257-27FD-9554-F23924FA4345}"/>
          </ac:spMkLst>
        </pc:spChg>
      </pc:sldChg>
    </pc:docChg>
  </pc:docChgLst>
  <pc:docChgLst>
    <pc:chgData name="Górajek, Julian" userId="S::julian.gorajek@accenture.com::8625b1db-1d6b-4bb8-98e7-ebc5c65ba918" providerId="AD" clId="Web-{903B2D49-3547-2F0E-8F40-451785457A32}"/>
    <pc:docChg chg="modSld">
      <pc:chgData name="Górajek, Julian" userId="S::julian.gorajek@accenture.com::8625b1db-1d6b-4bb8-98e7-ebc5c65ba918" providerId="AD" clId="Web-{903B2D49-3547-2F0E-8F40-451785457A32}" dt="2024-02-01T17:28:51.813" v="3" actId="20577"/>
      <pc:docMkLst>
        <pc:docMk/>
      </pc:docMkLst>
      <pc:sldChg chg="modSp">
        <pc:chgData name="Górajek, Julian" userId="S::julian.gorajek@accenture.com::8625b1db-1d6b-4bb8-98e7-ebc5c65ba918" providerId="AD" clId="Web-{903B2D49-3547-2F0E-8F40-451785457A32}" dt="2024-02-01T17:28:51.813" v="3" actId="20577"/>
        <pc:sldMkLst>
          <pc:docMk/>
          <pc:sldMk cId="3349555335" sldId="1362"/>
        </pc:sldMkLst>
        <pc:spChg chg="mod">
          <ac:chgData name="Górajek, Julian" userId="S::julian.gorajek@accenture.com::8625b1db-1d6b-4bb8-98e7-ebc5c65ba918" providerId="AD" clId="Web-{903B2D49-3547-2F0E-8F40-451785457A32}" dt="2024-02-01T17:28:51.813" v="3" actId="20577"/>
          <ac:spMkLst>
            <pc:docMk/>
            <pc:sldMk cId="3349555335" sldId="1362"/>
            <ac:spMk id="8" creationId="{21B27FAC-F4D8-14FA-E816-E0F5A6718CC9}"/>
          </ac:spMkLst>
        </pc:spChg>
      </pc:sldChg>
    </pc:docChg>
  </pc:docChgLst>
  <pc:docChgLst>
    <pc:chgData name="Górajek, Julian" userId="S::julian.gorajek@accenture.com::8625b1db-1d6b-4bb8-98e7-ebc5c65ba918" providerId="AD" clId="Web-{34BE5617-CDA2-4AE9-A788-25346A8C5601}"/>
    <pc:docChg chg="modSld">
      <pc:chgData name="Górajek, Julian" userId="S::julian.gorajek@accenture.com::8625b1db-1d6b-4bb8-98e7-ebc5c65ba918" providerId="AD" clId="Web-{34BE5617-CDA2-4AE9-A788-25346A8C5601}" dt="2024-02-09T15:21:22.387" v="1" actId="20577"/>
      <pc:docMkLst>
        <pc:docMk/>
      </pc:docMkLst>
      <pc:sldChg chg="modSp">
        <pc:chgData name="Górajek, Julian" userId="S::julian.gorajek@accenture.com::8625b1db-1d6b-4bb8-98e7-ebc5c65ba918" providerId="AD" clId="Web-{34BE5617-CDA2-4AE9-A788-25346A8C5601}" dt="2024-02-09T15:21:22.387" v="1" actId="20577"/>
        <pc:sldMkLst>
          <pc:docMk/>
          <pc:sldMk cId="3349555335" sldId="1362"/>
        </pc:sldMkLst>
        <pc:spChg chg="mod">
          <ac:chgData name="Górajek, Julian" userId="S::julian.gorajek@accenture.com::8625b1db-1d6b-4bb8-98e7-ebc5c65ba918" providerId="AD" clId="Web-{34BE5617-CDA2-4AE9-A788-25346A8C5601}" dt="2024-02-09T15:21:22.387" v="1" actId="20577"/>
          <ac:spMkLst>
            <pc:docMk/>
            <pc:sldMk cId="3349555335" sldId="1362"/>
            <ac:spMk id="8" creationId="{21B27FAC-F4D8-14FA-E816-E0F5A6718CC9}"/>
          </ac:spMkLst>
        </pc:spChg>
      </pc:sldChg>
    </pc:docChg>
  </pc:docChgLst>
  <pc:docChgLst>
    <pc:chgData name="Mika, Dominik" userId="S::dominik.mika@accenture.com::efccaf76-cde9-4a4d-a77e-bc633d306326" providerId="AD" clId="Web-{15191769-4E23-1B4A-3C3B-5352A3947E9B}"/>
    <pc:docChg chg="modSld">
      <pc:chgData name="Mika, Dominik" userId="S::dominik.mika@accenture.com::efccaf76-cde9-4a4d-a77e-bc633d306326" providerId="AD" clId="Web-{15191769-4E23-1B4A-3C3B-5352A3947E9B}" dt="2023-12-08T12:46:35.535" v="15" actId="20577"/>
      <pc:docMkLst>
        <pc:docMk/>
      </pc:docMkLst>
      <pc:sldChg chg="modSp">
        <pc:chgData name="Mika, Dominik" userId="S::dominik.mika@accenture.com::efccaf76-cde9-4a4d-a77e-bc633d306326" providerId="AD" clId="Web-{15191769-4E23-1B4A-3C3B-5352A3947E9B}" dt="2023-12-08T12:46:35.535" v="15" actId="20577"/>
        <pc:sldMkLst>
          <pc:docMk/>
          <pc:sldMk cId="4109088728" sldId="1355"/>
        </pc:sldMkLst>
        <pc:spChg chg="mod">
          <ac:chgData name="Mika, Dominik" userId="S::dominik.mika@accenture.com::efccaf76-cde9-4a4d-a77e-bc633d306326" providerId="AD" clId="Web-{15191769-4E23-1B4A-3C3B-5352A3947E9B}" dt="2023-12-08T12:46:35.535" v="15" actId="20577"/>
          <ac:spMkLst>
            <pc:docMk/>
            <pc:sldMk cId="4109088728" sldId="1355"/>
            <ac:spMk id="10" creationId="{2ADC3B6D-1669-0947-4FE2-FA2ED3B54A80}"/>
          </ac:spMkLst>
        </pc:spChg>
      </pc:sldChg>
    </pc:docChg>
  </pc:docChgLst>
  <pc:docChgLst>
    <pc:chgData name="Górski, Adam" userId="S::adam.gorski@accenture.com::ef48f5a5-9a98-4e41-9c63-9fdf5cc81b73" providerId="AD" clId="Web-{1B70A844-9526-5509-0293-FE81D7AE84EB}"/>
    <pc:docChg chg="sldOrd">
      <pc:chgData name="Górski, Adam" userId="S::adam.gorski@accenture.com::ef48f5a5-9a98-4e41-9c63-9fdf5cc81b73" providerId="AD" clId="Web-{1B70A844-9526-5509-0293-FE81D7AE84EB}" dt="2024-02-02T12:00:05.917" v="0"/>
      <pc:docMkLst>
        <pc:docMk/>
      </pc:docMkLst>
      <pc:sldChg chg="ord">
        <pc:chgData name="Górski, Adam" userId="S::adam.gorski@accenture.com::ef48f5a5-9a98-4e41-9c63-9fdf5cc81b73" providerId="AD" clId="Web-{1B70A844-9526-5509-0293-FE81D7AE84EB}" dt="2024-02-02T12:00:05.917" v="0"/>
        <pc:sldMkLst>
          <pc:docMk/>
          <pc:sldMk cId="2075896455" sldId="1300"/>
        </pc:sldMkLst>
      </pc:sldChg>
    </pc:docChg>
  </pc:docChgLst>
  <pc:docChgLst>
    <pc:chgData name="Górski, Adam" userId="ef48f5a5-9a98-4e41-9c63-9fdf5cc81b73" providerId="ADAL" clId="{9AC32CFF-1D80-48DC-8DE0-29DCCBEDC298}"/>
    <pc:docChg chg="modSld">
      <pc:chgData name="Górski, Adam" userId="ef48f5a5-9a98-4e41-9c63-9fdf5cc81b73" providerId="ADAL" clId="{9AC32CFF-1D80-48DC-8DE0-29DCCBEDC298}" dt="2024-02-13T08:43:41.566" v="4" actId="1076"/>
      <pc:docMkLst>
        <pc:docMk/>
      </pc:docMkLst>
      <pc:sldChg chg="modSp mod">
        <pc:chgData name="Górski, Adam" userId="ef48f5a5-9a98-4e41-9c63-9fdf5cc81b73" providerId="ADAL" clId="{9AC32CFF-1D80-48DC-8DE0-29DCCBEDC298}" dt="2024-02-13T08:43:41.566" v="4" actId="1076"/>
        <pc:sldMkLst>
          <pc:docMk/>
          <pc:sldMk cId="967545864" sldId="1360"/>
        </pc:sldMkLst>
        <pc:spChg chg="mod">
          <ac:chgData name="Górski, Adam" userId="ef48f5a5-9a98-4e41-9c63-9fdf5cc81b73" providerId="ADAL" clId="{9AC32CFF-1D80-48DC-8DE0-29DCCBEDC298}" dt="2024-02-13T08:43:37.523" v="3" actId="1076"/>
          <ac:spMkLst>
            <pc:docMk/>
            <pc:sldMk cId="967545864" sldId="1360"/>
            <ac:spMk id="2" creationId="{D1BDAE81-5210-487E-2053-A550675F318D}"/>
          </ac:spMkLst>
        </pc:spChg>
        <pc:spChg chg="mod">
          <ac:chgData name="Górski, Adam" userId="ef48f5a5-9a98-4e41-9c63-9fdf5cc81b73" providerId="ADAL" clId="{9AC32CFF-1D80-48DC-8DE0-29DCCBEDC298}" dt="2024-02-13T08:43:41.566" v="4" actId="1076"/>
          <ac:spMkLst>
            <pc:docMk/>
            <pc:sldMk cId="967545864" sldId="1360"/>
            <ac:spMk id="3" creationId="{F4C8AD0A-C319-8AE0-8884-15C52706DAC1}"/>
          </ac:spMkLst>
        </pc:spChg>
      </pc:sldChg>
    </pc:docChg>
  </pc:docChgLst>
  <pc:docChgLst>
    <pc:chgData name="Manchakadavath, Akshay" userId="S::a.manchakadavath@accenture.com::38a8ba32-d3a3-4341-a008-894f102ded66" providerId="AD" clId="Web-{5933D04A-98F9-B082-C066-6D8E63E31CD0}"/>
    <pc:docChg chg="modSld sldOrd">
      <pc:chgData name="Manchakadavath, Akshay" userId="S::a.manchakadavath@accenture.com::38a8ba32-d3a3-4341-a008-894f102ded66" providerId="AD" clId="Web-{5933D04A-98F9-B082-C066-6D8E63E31CD0}" dt="2024-03-22T10:23:04.830" v="346" actId="14100"/>
      <pc:docMkLst>
        <pc:docMk/>
      </pc:docMkLst>
      <pc:sldChg chg="ord">
        <pc:chgData name="Manchakadavath, Akshay" userId="S::a.manchakadavath@accenture.com::38a8ba32-d3a3-4341-a008-894f102ded66" providerId="AD" clId="Web-{5933D04A-98F9-B082-C066-6D8E63E31CD0}" dt="2024-03-22T09:45:38.440" v="0"/>
        <pc:sldMkLst>
          <pc:docMk/>
          <pc:sldMk cId="3520058925" sldId="1262"/>
        </pc:sldMkLst>
      </pc:sldChg>
      <pc:sldChg chg="modSp">
        <pc:chgData name="Manchakadavath, Akshay" userId="S::a.manchakadavath@accenture.com::38a8ba32-d3a3-4341-a008-894f102ded66" providerId="AD" clId="Web-{5933D04A-98F9-B082-C066-6D8E63E31CD0}" dt="2024-03-22T10:23:04.830" v="346" actId="14100"/>
        <pc:sldMkLst>
          <pc:docMk/>
          <pc:sldMk cId="2654585378" sldId="1331"/>
        </pc:sldMkLst>
        <pc:spChg chg="mod">
          <ac:chgData name="Manchakadavath, Akshay" userId="S::a.manchakadavath@accenture.com::38a8ba32-d3a3-4341-a008-894f102ded66" providerId="AD" clId="Web-{5933D04A-98F9-B082-C066-6D8E63E31CD0}" dt="2024-03-22T10:23:04.830" v="346" actId="14100"/>
          <ac:spMkLst>
            <pc:docMk/>
            <pc:sldMk cId="2654585378" sldId="1331"/>
            <ac:spMk id="7" creationId="{96CAE378-94B4-0269-C4D1-EBD2C607BCC3}"/>
          </ac:spMkLst>
        </pc:spChg>
        <pc:spChg chg="mod">
          <ac:chgData name="Manchakadavath, Akshay" userId="S::a.manchakadavath@accenture.com::38a8ba32-d3a3-4341-a008-894f102ded66" providerId="AD" clId="Web-{5933D04A-98F9-B082-C066-6D8E63E31CD0}" dt="2024-03-22T10:21:59.702" v="345" actId="20577"/>
          <ac:spMkLst>
            <pc:docMk/>
            <pc:sldMk cId="2654585378" sldId="1331"/>
            <ac:spMk id="10" creationId="{68D47195-2257-27FD-9554-F23924FA4345}"/>
          </ac:spMkLst>
        </pc:spChg>
      </pc:sldChg>
    </pc:docChg>
  </pc:docChgLst>
  <pc:docChgLst>
    <pc:chgData name="Mróz, Edyta" userId="S::edyta.mroz@accenture.com::d039859b-4177-4bb5-bcf4-d033cde24e68" providerId="AD" clId="Web-{8ADCAD80-8738-4C75-86DA-2937887AC3ED}"/>
    <pc:docChg chg="modSld">
      <pc:chgData name="Mróz, Edyta" userId="S::edyta.mroz@accenture.com::d039859b-4177-4bb5-bcf4-d033cde24e68" providerId="AD" clId="Web-{8ADCAD80-8738-4C75-86DA-2937887AC3ED}" dt="2024-02-16T10:15:06.257" v="120" actId="20577"/>
      <pc:docMkLst>
        <pc:docMk/>
      </pc:docMkLst>
      <pc:sldChg chg="modSp">
        <pc:chgData name="Mróz, Edyta" userId="S::edyta.mroz@accenture.com::d039859b-4177-4bb5-bcf4-d033cde24e68" providerId="AD" clId="Web-{8ADCAD80-8738-4C75-86DA-2937887AC3ED}" dt="2024-02-16T10:15:06.257" v="120" actId="20577"/>
        <pc:sldMkLst>
          <pc:docMk/>
          <pc:sldMk cId="4272818943" sldId="1361"/>
        </pc:sldMkLst>
        <pc:spChg chg="mod">
          <ac:chgData name="Mróz, Edyta" userId="S::edyta.mroz@accenture.com::d039859b-4177-4bb5-bcf4-d033cde24e68" providerId="AD" clId="Web-{8ADCAD80-8738-4C75-86DA-2937887AC3ED}" dt="2024-02-16T10:15:06.257" v="120" actId="20577"/>
          <ac:spMkLst>
            <pc:docMk/>
            <pc:sldMk cId="4272818943" sldId="1361"/>
            <ac:spMk id="10" creationId="{68D47195-2257-27FD-9554-F23924FA4345}"/>
          </ac:spMkLst>
        </pc:spChg>
      </pc:sldChg>
    </pc:docChg>
  </pc:docChgLst>
  <pc:docChgLst>
    <pc:chgData name="Paczusko, Jakub" userId="S::jakub.paczusko@accenture.com::fa3848df-111d-4f94-8ca7-e12e994db4b9" providerId="AD" clId="Web-{C2AFFAA8-BC45-CA57-DF97-A977E278FFE6}"/>
    <pc:docChg chg="modSld">
      <pc:chgData name="Paczusko, Jakub" userId="S::jakub.paczusko@accenture.com::fa3848df-111d-4f94-8ca7-e12e994db4b9" providerId="AD" clId="Web-{C2AFFAA8-BC45-CA57-DF97-A977E278FFE6}" dt="2024-01-03T10:01:26.460" v="86" actId="20577"/>
      <pc:docMkLst>
        <pc:docMk/>
      </pc:docMkLst>
      <pc:sldChg chg="modSp">
        <pc:chgData name="Paczusko, Jakub" userId="S::jakub.paczusko@accenture.com::fa3848df-111d-4f94-8ca7-e12e994db4b9" providerId="AD" clId="Web-{C2AFFAA8-BC45-CA57-DF97-A977E278FFE6}" dt="2024-01-03T10:01:26.460" v="86" actId="20577"/>
        <pc:sldMkLst>
          <pc:docMk/>
          <pc:sldMk cId="3967085744" sldId="1347"/>
        </pc:sldMkLst>
        <pc:spChg chg="mod">
          <ac:chgData name="Paczusko, Jakub" userId="S::jakub.paczusko@accenture.com::fa3848df-111d-4f94-8ca7-e12e994db4b9" providerId="AD" clId="Web-{C2AFFAA8-BC45-CA57-DF97-A977E278FFE6}" dt="2024-01-03T09:45:21.370" v="54" actId="20577"/>
          <ac:spMkLst>
            <pc:docMk/>
            <pc:sldMk cId="3967085744" sldId="1347"/>
            <ac:spMk id="3" creationId="{AF88C2A4-FF17-0676-87E4-0CC42FB0908B}"/>
          </ac:spMkLst>
        </pc:spChg>
        <pc:spChg chg="mod">
          <ac:chgData name="Paczusko, Jakub" userId="S::jakub.paczusko@accenture.com::fa3848df-111d-4f94-8ca7-e12e994db4b9" providerId="AD" clId="Web-{C2AFFAA8-BC45-CA57-DF97-A977E278FFE6}" dt="2024-01-03T10:01:26.460" v="86" actId="20577"/>
          <ac:spMkLst>
            <pc:docMk/>
            <pc:sldMk cId="3967085744" sldId="1347"/>
            <ac:spMk id="10" creationId="{2ADC3B6D-1669-0947-4FE2-FA2ED3B54A80}"/>
          </ac:spMkLst>
        </pc:spChg>
      </pc:sldChg>
    </pc:docChg>
  </pc:docChgLst>
  <pc:docChgLst>
    <pc:chgData name="Kozdron, Lukasz" userId="dc7205b3-df4d-460a-a9ce-f102cb30c1e2" providerId="ADAL" clId="{F86FFCC7-94D7-439A-ADA2-EEBAEFCE8C70}"/>
    <pc:docChg chg="undo custSel modSld">
      <pc:chgData name="Kozdron, Lukasz" userId="dc7205b3-df4d-460a-a9ce-f102cb30c1e2" providerId="ADAL" clId="{F86FFCC7-94D7-439A-ADA2-EEBAEFCE8C70}" dt="2023-12-11T19:31:28.626" v="713" actId="20577"/>
      <pc:docMkLst>
        <pc:docMk/>
      </pc:docMkLst>
      <pc:sldChg chg="modSp mod">
        <pc:chgData name="Kozdron, Lukasz" userId="dc7205b3-df4d-460a-a9ce-f102cb30c1e2" providerId="ADAL" clId="{F86FFCC7-94D7-439A-ADA2-EEBAEFCE8C70}" dt="2023-12-11T19:31:28.626" v="713" actId="20577"/>
        <pc:sldMkLst>
          <pc:docMk/>
          <pc:sldMk cId="697404448" sldId="1326"/>
        </pc:sldMkLst>
        <pc:spChg chg="mod">
          <ac:chgData name="Kozdron, Lukasz" userId="dc7205b3-df4d-460a-a9ce-f102cb30c1e2" providerId="ADAL" clId="{F86FFCC7-94D7-439A-ADA2-EEBAEFCE8C70}" dt="2023-12-11T19:27:31.087" v="586" actId="403"/>
          <ac:spMkLst>
            <pc:docMk/>
            <pc:sldMk cId="697404448" sldId="1326"/>
            <ac:spMk id="2" creationId="{911674FA-AAB1-290E-AC82-CA87E6310AA5}"/>
          </ac:spMkLst>
        </pc:spChg>
        <pc:spChg chg="mod">
          <ac:chgData name="Kozdron, Lukasz" userId="dc7205b3-df4d-460a-a9ce-f102cb30c1e2" providerId="ADAL" clId="{F86FFCC7-94D7-439A-ADA2-EEBAEFCE8C70}" dt="2023-12-11T19:30:40.984" v="712" actId="14100"/>
          <ac:spMkLst>
            <pc:docMk/>
            <pc:sldMk cId="697404448" sldId="1326"/>
            <ac:spMk id="3" creationId="{24306D85-71DB-A43C-EE9F-A05E2C3B843E}"/>
          </ac:spMkLst>
        </pc:spChg>
        <pc:spChg chg="mod">
          <ac:chgData name="Kozdron, Lukasz" userId="dc7205b3-df4d-460a-a9ce-f102cb30c1e2" providerId="ADAL" clId="{F86FFCC7-94D7-439A-ADA2-EEBAEFCE8C70}" dt="2023-12-11T19:29:17.687" v="657" actId="113"/>
          <ac:spMkLst>
            <pc:docMk/>
            <pc:sldMk cId="697404448" sldId="1326"/>
            <ac:spMk id="8" creationId="{A9D0EDE1-319C-F7C6-A99B-9FCF1CAD96E2}"/>
          </ac:spMkLst>
        </pc:spChg>
        <pc:spChg chg="mod">
          <ac:chgData name="Kozdron, Lukasz" userId="dc7205b3-df4d-460a-a9ce-f102cb30c1e2" providerId="ADAL" clId="{F86FFCC7-94D7-439A-ADA2-EEBAEFCE8C70}" dt="2023-12-11T19:31:28.626" v="713" actId="20577"/>
          <ac:spMkLst>
            <pc:docMk/>
            <pc:sldMk cId="697404448" sldId="1326"/>
            <ac:spMk id="10" creationId="{68D47195-2257-27FD-9554-F23924FA4345}"/>
          </ac:spMkLst>
        </pc:spChg>
      </pc:sldChg>
    </pc:docChg>
  </pc:docChgLst>
  <pc:docChgLst>
    <pc:chgData name="Florek, Wiktor" userId="0ca2f558-5343-4b92-8942-a4f4542ac018" providerId="ADAL" clId="{28815A9A-5820-4227-BB86-C872EFCA2530}"/>
    <pc:docChg chg="undo custSel modSld sldOrd">
      <pc:chgData name="Florek, Wiktor" userId="0ca2f558-5343-4b92-8942-a4f4542ac018" providerId="ADAL" clId="{28815A9A-5820-4227-BB86-C872EFCA2530}" dt="2023-12-04T11:21:40.826" v="286" actId="20577"/>
      <pc:docMkLst>
        <pc:docMk/>
      </pc:docMkLst>
      <pc:sldChg chg="modSp mod ord">
        <pc:chgData name="Florek, Wiktor" userId="0ca2f558-5343-4b92-8942-a4f4542ac018" providerId="ADAL" clId="{28815A9A-5820-4227-BB86-C872EFCA2530}" dt="2023-12-04T11:21:40.826" v="286" actId="20577"/>
        <pc:sldMkLst>
          <pc:docMk/>
          <pc:sldMk cId="2400061116" sldId="1237"/>
        </pc:sldMkLst>
        <pc:spChg chg="mod">
          <ac:chgData name="Florek, Wiktor" userId="0ca2f558-5343-4b92-8942-a4f4542ac018" providerId="ADAL" clId="{28815A9A-5820-4227-BB86-C872EFCA2530}" dt="2023-12-04T11:15:02.454" v="6" actId="20577"/>
          <ac:spMkLst>
            <pc:docMk/>
            <pc:sldMk cId="2400061116" sldId="1237"/>
            <ac:spMk id="2" creationId="{1692525E-A870-A45E-6DDE-5DA273AC6EED}"/>
          </ac:spMkLst>
        </pc:spChg>
        <pc:spChg chg="mod">
          <ac:chgData name="Florek, Wiktor" userId="0ca2f558-5343-4b92-8942-a4f4542ac018" providerId="ADAL" clId="{28815A9A-5820-4227-BB86-C872EFCA2530}" dt="2023-12-04T11:19:35.821" v="232" actId="20577"/>
          <ac:spMkLst>
            <pc:docMk/>
            <pc:sldMk cId="2400061116" sldId="1237"/>
            <ac:spMk id="3" creationId="{66CC37AE-8AAF-7900-9240-93D574D86204}"/>
          </ac:spMkLst>
        </pc:spChg>
        <pc:spChg chg="mod">
          <ac:chgData name="Florek, Wiktor" userId="0ca2f558-5343-4b92-8942-a4f4542ac018" providerId="ADAL" clId="{28815A9A-5820-4227-BB86-C872EFCA2530}" dt="2023-12-04T11:15:13.105" v="22" actId="20577"/>
          <ac:spMkLst>
            <pc:docMk/>
            <pc:sldMk cId="2400061116" sldId="1237"/>
            <ac:spMk id="5" creationId="{766F8E67-1E56-9DD3-15A5-5C00632E52B7}"/>
          </ac:spMkLst>
        </pc:spChg>
        <pc:spChg chg="mod">
          <ac:chgData name="Florek, Wiktor" userId="0ca2f558-5343-4b92-8942-a4f4542ac018" providerId="ADAL" clId="{28815A9A-5820-4227-BB86-C872EFCA2530}" dt="2023-12-04T11:20:43.786" v="278" actId="20577"/>
          <ac:spMkLst>
            <pc:docMk/>
            <pc:sldMk cId="2400061116" sldId="1237"/>
            <ac:spMk id="8" creationId="{21B27FAC-F4D8-14FA-E816-E0F5A6718CC9}"/>
          </ac:spMkLst>
        </pc:spChg>
        <pc:spChg chg="mod">
          <ac:chgData name="Florek, Wiktor" userId="0ca2f558-5343-4b92-8942-a4f4542ac018" providerId="ADAL" clId="{28815A9A-5820-4227-BB86-C872EFCA2530}" dt="2023-12-04T11:21:40.826" v="286" actId="20577"/>
          <ac:spMkLst>
            <pc:docMk/>
            <pc:sldMk cId="2400061116" sldId="1237"/>
            <ac:spMk id="10" creationId="{6544F642-4FD7-D49B-CDFE-2E39F605B09B}"/>
          </ac:spMkLst>
        </pc:spChg>
      </pc:sldChg>
    </pc:docChg>
  </pc:docChgLst>
  <pc:docChgLst>
    <pc:chgData name="Mazur, Bartosz" userId="24b0e517-ff9d-4e98-810a-0f318c5bc9e2" providerId="ADAL" clId="{E1CDD000-575B-448C-AA61-7FF2974506DC}"/>
    <pc:docChg chg="custSel modSld">
      <pc:chgData name="Mazur, Bartosz" userId="24b0e517-ff9d-4e98-810a-0f318c5bc9e2" providerId="ADAL" clId="{E1CDD000-575B-448C-AA61-7FF2974506DC}" dt="2023-12-07T13:49:36.053" v="1" actId="27636"/>
      <pc:docMkLst>
        <pc:docMk/>
      </pc:docMkLst>
      <pc:sldChg chg="modSp mod">
        <pc:chgData name="Mazur, Bartosz" userId="24b0e517-ff9d-4e98-810a-0f318c5bc9e2" providerId="ADAL" clId="{E1CDD000-575B-448C-AA61-7FF2974506DC}" dt="2023-12-07T13:49:36.053" v="1" actId="27636"/>
        <pc:sldMkLst>
          <pc:docMk/>
          <pc:sldMk cId="1949626962" sldId="1349"/>
        </pc:sldMkLst>
        <pc:spChg chg="mod">
          <ac:chgData name="Mazur, Bartosz" userId="24b0e517-ff9d-4e98-810a-0f318c5bc9e2" providerId="ADAL" clId="{E1CDD000-575B-448C-AA61-7FF2974506DC}" dt="2023-12-07T13:49:36.037" v="0" actId="27636"/>
          <ac:spMkLst>
            <pc:docMk/>
            <pc:sldMk cId="1949626962" sldId="1349"/>
            <ac:spMk id="2" creationId="{907A6792-CD02-599B-4146-7772C73B01E3}"/>
          </ac:spMkLst>
        </pc:spChg>
        <pc:spChg chg="mod">
          <ac:chgData name="Mazur, Bartosz" userId="24b0e517-ff9d-4e98-810a-0f318c5bc9e2" providerId="ADAL" clId="{E1CDD000-575B-448C-AA61-7FF2974506DC}" dt="2023-12-07T13:49:36.053" v="1" actId="27636"/>
          <ac:spMkLst>
            <pc:docMk/>
            <pc:sldMk cId="1949626962" sldId="1349"/>
            <ac:spMk id="8" creationId="{9CFFF608-5DCB-85A5-D2CF-77199B9A17D9}"/>
          </ac:spMkLst>
        </pc:spChg>
      </pc:sldChg>
    </pc:docChg>
  </pc:docChgLst>
  <pc:docChgLst>
    <pc:chgData name="Mioduszewska, Joanna" userId="81ce7990-eaad-4e2f-8cfd-9d7aecd250dd" providerId="ADAL" clId="{AD11784F-0967-4EC6-A4AC-A068CCB61578}"/>
    <pc:docChg chg="custSel modSld">
      <pc:chgData name="Mioduszewska, Joanna" userId="81ce7990-eaad-4e2f-8cfd-9d7aecd250dd" providerId="ADAL" clId="{AD11784F-0967-4EC6-A4AC-A068CCB61578}" dt="2023-12-13T10:06:56.505" v="279" actId="313"/>
      <pc:docMkLst>
        <pc:docMk/>
      </pc:docMkLst>
      <pc:sldChg chg="modSp mod">
        <pc:chgData name="Mioduszewska, Joanna" userId="81ce7990-eaad-4e2f-8cfd-9d7aecd250dd" providerId="ADAL" clId="{AD11784F-0967-4EC6-A4AC-A068CCB61578}" dt="2023-12-13T10:06:56.505" v="279" actId="313"/>
        <pc:sldMkLst>
          <pc:docMk/>
          <pc:sldMk cId="3679542535" sldId="1271"/>
        </pc:sldMkLst>
        <pc:spChg chg="mod">
          <ac:chgData name="Mioduszewska, Joanna" userId="81ce7990-eaad-4e2f-8cfd-9d7aecd250dd" providerId="ADAL" clId="{AD11784F-0967-4EC6-A4AC-A068CCB61578}" dt="2023-12-13T10:06:56.505" v="279" actId="313"/>
          <ac:spMkLst>
            <pc:docMk/>
            <pc:sldMk cId="3679542535" sldId="1271"/>
            <ac:spMk id="2" creationId="{911674FA-AAB1-290E-AC82-CA87E6310AA5}"/>
          </ac:spMkLst>
        </pc:spChg>
        <pc:spChg chg="mod">
          <ac:chgData name="Mioduszewska, Joanna" userId="81ce7990-eaad-4e2f-8cfd-9d7aecd250dd" providerId="ADAL" clId="{AD11784F-0967-4EC6-A4AC-A068CCB61578}" dt="2023-12-13T10:06:03.575" v="277" actId="20577"/>
          <ac:spMkLst>
            <pc:docMk/>
            <pc:sldMk cId="3679542535" sldId="1271"/>
            <ac:spMk id="8" creationId="{A9D0EDE1-319C-F7C6-A99B-9FCF1CAD96E2}"/>
          </ac:spMkLst>
        </pc:spChg>
      </pc:sldChg>
    </pc:docChg>
  </pc:docChgLst>
  <pc:docChgLst>
    <pc:chgData name="Biolik, Joanna" userId="7237554e-7084-45da-b3a3-93bd49020d95" providerId="ADAL" clId="{30AD7129-DFEF-4B1E-81EB-9E1BDE8CA140}"/>
    <pc:docChg chg="undo custSel modSld">
      <pc:chgData name="Biolik, Joanna" userId="7237554e-7084-45da-b3a3-93bd49020d95" providerId="ADAL" clId="{30AD7129-DFEF-4B1E-81EB-9E1BDE8CA140}" dt="2024-03-08T09:19:34.906" v="73" actId="20577"/>
      <pc:docMkLst>
        <pc:docMk/>
      </pc:docMkLst>
      <pc:sldChg chg="modSp mod">
        <pc:chgData name="Biolik, Joanna" userId="7237554e-7084-45da-b3a3-93bd49020d95" providerId="ADAL" clId="{30AD7129-DFEF-4B1E-81EB-9E1BDE8CA140}" dt="2024-02-23T09:06:28.171" v="1" actId="20577"/>
        <pc:sldMkLst>
          <pc:docMk/>
          <pc:sldMk cId="2718533031" sldId="1244"/>
        </pc:sldMkLst>
        <pc:spChg chg="mod">
          <ac:chgData name="Biolik, Joanna" userId="7237554e-7084-45da-b3a3-93bd49020d95" providerId="ADAL" clId="{30AD7129-DFEF-4B1E-81EB-9E1BDE8CA140}" dt="2024-02-23T09:06:28.171" v="1" actId="20577"/>
          <ac:spMkLst>
            <pc:docMk/>
            <pc:sldMk cId="2718533031" sldId="1244"/>
            <ac:spMk id="10" creationId="{697AE1C7-A5BD-D613-EF73-565323981BB4}"/>
          </ac:spMkLst>
        </pc:spChg>
      </pc:sldChg>
      <pc:sldChg chg="modSp mod">
        <pc:chgData name="Biolik, Joanna" userId="7237554e-7084-45da-b3a3-93bd49020d95" providerId="ADAL" clId="{30AD7129-DFEF-4B1E-81EB-9E1BDE8CA140}" dt="2024-02-29T09:47:30.846" v="4" actId="1076"/>
        <pc:sldMkLst>
          <pc:docMk/>
          <pc:sldMk cId="211902595" sldId="1342"/>
        </pc:sldMkLst>
        <pc:spChg chg="mod">
          <ac:chgData name="Biolik, Joanna" userId="7237554e-7084-45da-b3a3-93bd49020d95" providerId="ADAL" clId="{30AD7129-DFEF-4B1E-81EB-9E1BDE8CA140}" dt="2024-02-29T09:47:30.846" v="4" actId="1076"/>
          <ac:spMkLst>
            <pc:docMk/>
            <pc:sldMk cId="211902595" sldId="1342"/>
            <ac:spMk id="7" creationId="{33BC7E8F-321D-D3EA-93F2-9277C71CE905}"/>
          </ac:spMkLst>
        </pc:spChg>
      </pc:sldChg>
      <pc:sldChg chg="modSp mod">
        <pc:chgData name="Biolik, Joanna" userId="7237554e-7084-45da-b3a3-93bd49020d95" providerId="ADAL" clId="{30AD7129-DFEF-4B1E-81EB-9E1BDE8CA140}" dt="2024-03-08T09:19:34.906" v="73" actId="20577"/>
        <pc:sldMkLst>
          <pc:docMk/>
          <pc:sldMk cId="1731765507" sldId="1343"/>
        </pc:sldMkLst>
        <pc:spChg chg="mod">
          <ac:chgData name="Biolik, Joanna" userId="7237554e-7084-45da-b3a3-93bd49020d95" providerId="ADAL" clId="{30AD7129-DFEF-4B1E-81EB-9E1BDE8CA140}" dt="2024-03-08T09:19:34.906" v="73" actId="20577"/>
          <ac:spMkLst>
            <pc:docMk/>
            <pc:sldMk cId="1731765507" sldId="1343"/>
            <ac:spMk id="3" creationId="{89BADFF7-94B3-EAFF-AB1C-6D0ABEF9337C}"/>
          </ac:spMkLst>
        </pc:spChg>
      </pc:sldChg>
      <pc:sldChg chg="modSp mod">
        <pc:chgData name="Biolik, Joanna" userId="7237554e-7084-45da-b3a3-93bd49020d95" providerId="ADAL" clId="{30AD7129-DFEF-4B1E-81EB-9E1BDE8CA140}" dt="2024-02-28T08:59:40.889" v="3" actId="1036"/>
        <pc:sldMkLst>
          <pc:docMk/>
          <pc:sldMk cId="2326664230" sldId="1366"/>
        </pc:sldMkLst>
        <pc:picChg chg="mod">
          <ac:chgData name="Biolik, Joanna" userId="7237554e-7084-45da-b3a3-93bd49020d95" providerId="ADAL" clId="{30AD7129-DFEF-4B1E-81EB-9E1BDE8CA140}" dt="2024-02-28T08:59:40.889" v="3" actId="1036"/>
          <ac:picMkLst>
            <pc:docMk/>
            <pc:sldMk cId="2326664230" sldId="1366"/>
            <ac:picMk id="12" creationId="{9F692F38-059F-D872-17F3-1DE2B1AE7BF1}"/>
          </ac:picMkLst>
        </pc:picChg>
      </pc:sldChg>
    </pc:docChg>
  </pc:docChgLst>
  <pc:docChgLst>
    <pc:chgData name="Benak, Peter" userId="abde22af-b832-4dad-b0ac-28d138aa3088" providerId="ADAL" clId="{08CAABC7-6552-4DD9-9DB5-BAD1A9771722}"/>
    <pc:docChg chg="undo custSel addSld modSld">
      <pc:chgData name="Benak, Peter" userId="abde22af-b832-4dad-b0ac-28d138aa3088" providerId="ADAL" clId="{08CAABC7-6552-4DD9-9DB5-BAD1A9771722}" dt="2024-04-02T10:09:01.511" v="716" actId="27636"/>
      <pc:docMkLst>
        <pc:docMk/>
      </pc:docMkLst>
      <pc:sldChg chg="addSp delSp modSp mod modShow">
        <pc:chgData name="Benak, Peter" userId="abde22af-b832-4dad-b0ac-28d138aa3088" providerId="ADAL" clId="{08CAABC7-6552-4DD9-9DB5-BAD1A9771722}" dt="2024-04-02T10:09:01.511" v="716" actId="27636"/>
        <pc:sldMkLst>
          <pc:docMk/>
          <pc:sldMk cId="1733477518" sldId="1252"/>
        </pc:sldMkLst>
        <pc:spChg chg="mod">
          <ac:chgData name="Benak, Peter" userId="abde22af-b832-4dad-b0ac-28d138aa3088" providerId="ADAL" clId="{08CAABC7-6552-4DD9-9DB5-BAD1A9771722}" dt="2024-04-02T09:44:37.038" v="174" actId="20577"/>
          <ac:spMkLst>
            <pc:docMk/>
            <pc:sldMk cId="1733477518" sldId="1252"/>
            <ac:spMk id="2" creationId="{911674FA-AAB1-290E-AC82-CA87E6310AA5}"/>
          </ac:spMkLst>
        </pc:spChg>
        <pc:spChg chg="mod">
          <ac:chgData name="Benak, Peter" userId="abde22af-b832-4dad-b0ac-28d138aa3088" providerId="ADAL" clId="{08CAABC7-6552-4DD9-9DB5-BAD1A9771722}" dt="2024-04-02T09:43:37.832" v="132" actId="20577"/>
          <ac:spMkLst>
            <pc:docMk/>
            <pc:sldMk cId="1733477518" sldId="1252"/>
            <ac:spMk id="3" creationId="{24306D85-71DB-A43C-EE9F-A05E2C3B843E}"/>
          </ac:spMkLst>
        </pc:spChg>
        <pc:spChg chg="mod">
          <ac:chgData name="Benak, Peter" userId="abde22af-b832-4dad-b0ac-28d138aa3088" providerId="ADAL" clId="{08CAABC7-6552-4DD9-9DB5-BAD1A9771722}" dt="2024-04-02T10:06:03.876" v="634" actId="20577"/>
          <ac:spMkLst>
            <pc:docMk/>
            <pc:sldMk cId="1733477518" sldId="1252"/>
            <ac:spMk id="4" creationId="{6F381516-F3F1-5803-258D-A281CE214469}"/>
          </ac:spMkLst>
        </pc:spChg>
        <pc:spChg chg="mod">
          <ac:chgData name="Benak, Peter" userId="abde22af-b832-4dad-b0ac-28d138aa3088" providerId="ADAL" clId="{08CAABC7-6552-4DD9-9DB5-BAD1A9771722}" dt="2024-04-02T10:02:24.238" v="368" actId="14100"/>
          <ac:spMkLst>
            <pc:docMk/>
            <pc:sldMk cId="1733477518" sldId="1252"/>
            <ac:spMk id="5" creationId="{731985F1-A854-FF0C-23C8-8306F6E942BE}"/>
          </ac:spMkLst>
        </pc:spChg>
        <pc:spChg chg="mod">
          <ac:chgData name="Benak, Peter" userId="abde22af-b832-4dad-b0ac-28d138aa3088" providerId="ADAL" clId="{08CAABC7-6552-4DD9-9DB5-BAD1A9771722}" dt="2024-04-02T10:04:20.141" v="590" actId="120"/>
          <ac:spMkLst>
            <pc:docMk/>
            <pc:sldMk cId="1733477518" sldId="1252"/>
            <ac:spMk id="7" creationId="{96CAE378-94B4-0269-C4D1-EBD2C607BCC3}"/>
          </ac:spMkLst>
        </pc:spChg>
        <pc:spChg chg="mod">
          <ac:chgData name="Benak, Peter" userId="abde22af-b832-4dad-b0ac-28d138aa3088" providerId="ADAL" clId="{08CAABC7-6552-4DD9-9DB5-BAD1A9771722}" dt="2024-04-02T10:06:36.174" v="668" actId="20577"/>
          <ac:spMkLst>
            <pc:docMk/>
            <pc:sldMk cId="1733477518" sldId="1252"/>
            <ac:spMk id="8" creationId="{A9D0EDE1-319C-F7C6-A99B-9FCF1CAD96E2}"/>
          </ac:spMkLst>
        </pc:spChg>
        <pc:spChg chg="mod">
          <ac:chgData name="Benak, Peter" userId="abde22af-b832-4dad-b0ac-28d138aa3088" providerId="ADAL" clId="{08CAABC7-6552-4DD9-9DB5-BAD1A9771722}" dt="2024-04-02T10:02:45.739" v="412" actId="20577"/>
          <ac:spMkLst>
            <pc:docMk/>
            <pc:sldMk cId="1733477518" sldId="1252"/>
            <ac:spMk id="9" creationId="{698ADF03-8FE6-EE63-15FA-BCDD7A6C1908}"/>
          </ac:spMkLst>
        </pc:spChg>
        <pc:spChg chg="mod">
          <ac:chgData name="Benak, Peter" userId="abde22af-b832-4dad-b0ac-28d138aa3088" providerId="ADAL" clId="{08CAABC7-6552-4DD9-9DB5-BAD1A9771722}" dt="2024-04-02T10:09:01.511" v="716" actId="27636"/>
          <ac:spMkLst>
            <pc:docMk/>
            <pc:sldMk cId="1733477518" sldId="1252"/>
            <ac:spMk id="10" creationId="{68D47195-2257-27FD-9554-F23924FA4345}"/>
          </ac:spMkLst>
        </pc:spChg>
        <pc:spChg chg="add del mod">
          <ac:chgData name="Benak, Peter" userId="abde22af-b832-4dad-b0ac-28d138aa3088" providerId="ADAL" clId="{08CAABC7-6552-4DD9-9DB5-BAD1A9771722}" dt="2024-04-02T10:07:09.095" v="672" actId="478"/>
          <ac:spMkLst>
            <pc:docMk/>
            <pc:sldMk cId="1733477518" sldId="1252"/>
            <ac:spMk id="11" creationId="{DC9C9C31-6251-2C48-02B2-5E113BB44C3F}"/>
          </ac:spMkLst>
        </pc:spChg>
        <pc:picChg chg="add mod">
          <ac:chgData name="Benak, Peter" userId="abde22af-b832-4dad-b0ac-28d138aa3088" providerId="ADAL" clId="{08CAABC7-6552-4DD9-9DB5-BAD1A9771722}" dt="2024-04-02T10:07:20.412" v="682" actId="1035"/>
          <ac:picMkLst>
            <pc:docMk/>
            <pc:sldMk cId="1733477518" sldId="1252"/>
            <ac:picMk id="12" creationId="{D44FBF9B-429F-A85E-4F84-6EBF185B52CC}"/>
          </ac:picMkLst>
        </pc:picChg>
        <pc:picChg chg="del">
          <ac:chgData name="Benak, Peter" userId="abde22af-b832-4dad-b0ac-28d138aa3088" providerId="ADAL" clId="{08CAABC7-6552-4DD9-9DB5-BAD1A9771722}" dt="2024-04-02T09:41:20.109" v="2" actId="478"/>
          <ac:picMkLst>
            <pc:docMk/>
            <pc:sldMk cId="1733477518" sldId="1252"/>
            <ac:picMk id="14" creationId="{2AE5F384-BABD-567A-A5DC-EBC5BE17FD54}"/>
          </ac:picMkLst>
        </pc:picChg>
      </pc:sldChg>
      <pc:sldChg chg="add setBg">
        <pc:chgData name="Benak, Peter" userId="abde22af-b832-4dad-b0ac-28d138aa3088" providerId="ADAL" clId="{08CAABC7-6552-4DD9-9DB5-BAD1A9771722}" dt="2024-04-02T09:41:14.294" v="0"/>
        <pc:sldMkLst>
          <pc:docMk/>
          <pc:sldMk cId="4280540878" sldId="1374"/>
        </pc:sldMkLst>
      </pc:sldChg>
    </pc:docChg>
  </pc:docChgLst>
  <pc:docChgLst>
    <pc:chgData name="Les, Michal" userId="S::michal.les@accenture.com::3ee9775d-ee9c-4cf4-aa28-4f2018cc7424" providerId="AD" clId="Web-{20F0EF13-023C-847F-02D8-AD5642F1B71B}"/>
    <pc:docChg chg="modSld">
      <pc:chgData name="Les, Michal" userId="S::michal.les@accenture.com::3ee9775d-ee9c-4cf4-aa28-4f2018cc7424" providerId="AD" clId="Web-{20F0EF13-023C-847F-02D8-AD5642F1B71B}" dt="2024-03-13T11:19:36.615" v="179" actId="20577"/>
      <pc:docMkLst>
        <pc:docMk/>
      </pc:docMkLst>
      <pc:sldChg chg="modSp">
        <pc:chgData name="Les, Michal" userId="S::michal.les@accenture.com::3ee9775d-ee9c-4cf4-aa28-4f2018cc7424" providerId="AD" clId="Web-{20F0EF13-023C-847F-02D8-AD5642F1B71B}" dt="2024-03-13T11:19:36.615" v="179" actId="20577"/>
        <pc:sldMkLst>
          <pc:docMk/>
          <pc:sldMk cId="593098658" sldId="1340"/>
        </pc:sldMkLst>
        <pc:spChg chg="mod">
          <ac:chgData name="Les, Michal" userId="S::michal.les@accenture.com::3ee9775d-ee9c-4cf4-aa28-4f2018cc7424" providerId="AD" clId="Web-{20F0EF13-023C-847F-02D8-AD5642F1B71B}" dt="2024-03-13T11:19:36.615" v="179" actId="20577"/>
          <ac:spMkLst>
            <pc:docMk/>
            <pc:sldMk cId="593098658" sldId="1340"/>
            <ac:spMk id="10" creationId="{A004E5B0-E7EC-3413-16FD-505F7871D475}"/>
          </ac:spMkLst>
        </pc:spChg>
      </pc:sldChg>
    </pc:docChg>
  </pc:docChgLst>
  <pc:docChgLst>
    <pc:chgData name="Korneta, Iga" userId="S::iga.korneta@accenture.com::5bb3f265-4f39-4daa-912c-5caa86b505fb" providerId="AD" clId="Web-{0589D779-D86B-DD2B-0777-02C484C4AAA4}"/>
    <pc:docChg chg="modSld sldOrd">
      <pc:chgData name="Korneta, Iga" userId="S::iga.korneta@accenture.com::5bb3f265-4f39-4daa-912c-5caa86b505fb" providerId="AD" clId="Web-{0589D779-D86B-DD2B-0777-02C484C4AAA4}" dt="2024-03-07T12:25:35.152" v="929" actId="20577"/>
      <pc:docMkLst>
        <pc:docMk/>
      </pc:docMkLst>
      <pc:sldChg chg="modSp ord">
        <pc:chgData name="Korneta, Iga" userId="S::iga.korneta@accenture.com::5bb3f265-4f39-4daa-912c-5caa86b505fb" providerId="AD" clId="Web-{0589D779-D86B-DD2B-0777-02C484C4AAA4}" dt="2024-03-07T12:25:35.152" v="929" actId="20577"/>
        <pc:sldMkLst>
          <pc:docMk/>
          <pc:sldMk cId="282247140" sldId="1363"/>
        </pc:sldMkLst>
        <pc:spChg chg="mod">
          <ac:chgData name="Korneta, Iga" userId="S::iga.korneta@accenture.com::5bb3f265-4f39-4daa-912c-5caa86b505fb" providerId="AD" clId="Web-{0589D779-D86B-DD2B-0777-02C484C4AAA4}" dt="2024-03-07T12:09:53.690" v="301" actId="20577"/>
          <ac:spMkLst>
            <pc:docMk/>
            <pc:sldMk cId="282247140" sldId="1363"/>
            <ac:spMk id="2" creationId="{AAB8BB9D-0FB6-62BF-E1B5-48D59B98FF35}"/>
          </ac:spMkLst>
        </pc:spChg>
        <pc:spChg chg="mod">
          <ac:chgData name="Korneta, Iga" userId="S::iga.korneta@accenture.com::5bb3f265-4f39-4daa-912c-5caa86b505fb" providerId="AD" clId="Web-{0589D779-D86B-DD2B-0777-02C484C4AAA4}" dt="2024-03-07T12:06:47.447" v="242" actId="20577"/>
          <ac:spMkLst>
            <pc:docMk/>
            <pc:sldMk cId="282247140" sldId="1363"/>
            <ac:spMk id="3" creationId="{512B5AAB-36CC-B248-45FC-EE79F3757952}"/>
          </ac:spMkLst>
        </pc:spChg>
        <pc:spChg chg="mod">
          <ac:chgData name="Korneta, Iga" userId="S::iga.korneta@accenture.com::5bb3f265-4f39-4daa-912c-5caa86b505fb" providerId="AD" clId="Web-{0589D779-D86B-DD2B-0777-02C484C4AAA4}" dt="2024-03-07T12:05:43.898" v="227" actId="20577"/>
          <ac:spMkLst>
            <pc:docMk/>
            <pc:sldMk cId="282247140" sldId="1363"/>
            <ac:spMk id="7" creationId="{5BB75E3F-E931-615A-68A2-7BB81C48CFAD}"/>
          </ac:spMkLst>
        </pc:spChg>
        <pc:spChg chg="mod">
          <ac:chgData name="Korneta, Iga" userId="S::iga.korneta@accenture.com::5bb3f265-4f39-4daa-912c-5caa86b505fb" providerId="AD" clId="Web-{0589D779-D86B-DD2B-0777-02C484C4AAA4}" dt="2024-03-07T12:05:51.883" v="228"/>
          <ac:spMkLst>
            <pc:docMk/>
            <pc:sldMk cId="282247140" sldId="1363"/>
            <ac:spMk id="8" creationId="{470BA70A-2BDE-FA95-B241-FA70FDE67E60}"/>
          </ac:spMkLst>
        </pc:spChg>
        <pc:spChg chg="mod">
          <ac:chgData name="Korneta, Iga" userId="S::iga.korneta@accenture.com::5bb3f265-4f39-4daa-912c-5caa86b505fb" providerId="AD" clId="Web-{0589D779-D86B-DD2B-0777-02C484C4AAA4}" dt="2024-03-07T12:06:18.681" v="232" actId="1076"/>
          <ac:spMkLst>
            <pc:docMk/>
            <pc:sldMk cId="282247140" sldId="1363"/>
            <ac:spMk id="9" creationId="{8F7477FF-EA27-C0C1-3AD2-776530A4297E}"/>
          </ac:spMkLst>
        </pc:spChg>
        <pc:spChg chg="mod">
          <ac:chgData name="Korneta, Iga" userId="S::iga.korneta@accenture.com::5bb3f265-4f39-4daa-912c-5caa86b505fb" providerId="AD" clId="Web-{0589D779-D86B-DD2B-0777-02C484C4AAA4}" dt="2024-03-07T12:25:35.152" v="929" actId="20577"/>
          <ac:spMkLst>
            <pc:docMk/>
            <pc:sldMk cId="282247140" sldId="1363"/>
            <ac:spMk id="10" creationId="{F538107F-65D0-6F34-3C3B-5A87C3C26470}"/>
          </ac:spMkLst>
        </pc:spChg>
      </pc:sldChg>
    </pc:docChg>
  </pc:docChgLst>
  <pc:docChgLst>
    <pc:chgData name="Makuch, Monika" userId="5f32b3e3-5b05-4c85-90fd-1c5e60f186a0" providerId="ADAL" clId="{CFC32B90-BA81-4118-AC42-5A9FFEA921ED}"/>
    <pc:docChg chg="undo custSel modSld">
      <pc:chgData name="Makuch, Monika" userId="5f32b3e3-5b05-4c85-90fd-1c5e60f186a0" providerId="ADAL" clId="{CFC32B90-BA81-4118-AC42-5A9FFEA921ED}" dt="2023-10-27T08:53:06.285" v="42" actId="729"/>
      <pc:docMkLst>
        <pc:docMk/>
      </pc:docMkLst>
      <pc:sldChg chg="modSp mod">
        <pc:chgData name="Makuch, Monika" userId="5f32b3e3-5b05-4c85-90fd-1c5e60f186a0" providerId="ADAL" clId="{CFC32B90-BA81-4118-AC42-5A9FFEA921ED}" dt="2023-10-27T08:49:32.517" v="41" actId="27636"/>
        <pc:sldMkLst>
          <pc:docMk/>
          <pc:sldMk cId="1733477518" sldId="1252"/>
        </pc:sldMkLst>
        <pc:spChg chg="mod">
          <ac:chgData name="Makuch, Monika" userId="5f32b3e3-5b05-4c85-90fd-1c5e60f186a0" providerId="ADAL" clId="{CFC32B90-BA81-4118-AC42-5A9FFEA921ED}" dt="2023-10-27T08:49:32.517" v="41" actId="27636"/>
          <ac:spMkLst>
            <pc:docMk/>
            <pc:sldMk cId="1733477518" sldId="1252"/>
            <ac:spMk id="10" creationId="{68D47195-2257-27FD-9554-F23924FA4345}"/>
          </ac:spMkLst>
        </pc:spChg>
      </pc:sldChg>
      <pc:sldChg chg="mod modShow">
        <pc:chgData name="Makuch, Monika" userId="5f32b3e3-5b05-4c85-90fd-1c5e60f186a0" providerId="ADAL" clId="{CFC32B90-BA81-4118-AC42-5A9FFEA921ED}" dt="2023-10-27T08:53:06.285" v="42" actId="729"/>
        <pc:sldMkLst>
          <pc:docMk/>
          <pc:sldMk cId="3799505985" sldId="1305"/>
        </pc:sldMkLst>
      </pc:sldChg>
      <pc:sldChg chg="modSp mod modNotes">
        <pc:chgData name="Makuch, Monika" userId="5f32b3e3-5b05-4c85-90fd-1c5e60f186a0" providerId="ADAL" clId="{CFC32B90-BA81-4118-AC42-5A9FFEA921ED}" dt="2023-10-23T09:56:59.062" v="36" actId="20577"/>
        <pc:sldMkLst>
          <pc:docMk/>
          <pc:sldMk cId="3831383783" sldId="1352"/>
        </pc:sldMkLst>
        <pc:spChg chg="mod">
          <ac:chgData name="Makuch, Monika" userId="5f32b3e3-5b05-4c85-90fd-1c5e60f186a0" providerId="ADAL" clId="{CFC32B90-BA81-4118-AC42-5A9FFEA921ED}" dt="2023-10-23T09:56:10.636" v="8" actId="790"/>
          <ac:spMkLst>
            <pc:docMk/>
            <pc:sldMk cId="3831383783" sldId="1352"/>
            <ac:spMk id="2" creationId="{AAB8BB9D-0FB6-62BF-E1B5-48D59B98FF35}"/>
          </ac:spMkLst>
        </pc:spChg>
        <pc:spChg chg="mod">
          <ac:chgData name="Makuch, Monika" userId="5f32b3e3-5b05-4c85-90fd-1c5e60f186a0" providerId="ADAL" clId="{CFC32B90-BA81-4118-AC42-5A9FFEA921ED}" dt="2023-10-23T09:56:10.643" v="11" actId="790"/>
          <ac:spMkLst>
            <pc:docMk/>
            <pc:sldMk cId="3831383783" sldId="1352"/>
            <ac:spMk id="3" creationId="{512B5AAB-36CC-B248-45FC-EE79F3757952}"/>
          </ac:spMkLst>
        </pc:spChg>
        <pc:spChg chg="mod">
          <ac:chgData name="Makuch, Monika" userId="5f32b3e3-5b05-4c85-90fd-1c5e60f186a0" providerId="ADAL" clId="{CFC32B90-BA81-4118-AC42-5A9FFEA921ED}" dt="2023-10-23T09:56:10.663" v="14" actId="790"/>
          <ac:spMkLst>
            <pc:docMk/>
            <pc:sldMk cId="3831383783" sldId="1352"/>
            <ac:spMk id="4" creationId="{C86BA3DB-B572-7A7D-1449-1BB8574AED12}"/>
          </ac:spMkLst>
        </pc:spChg>
        <pc:spChg chg="mod">
          <ac:chgData name="Makuch, Monika" userId="5f32b3e3-5b05-4c85-90fd-1c5e60f186a0" providerId="ADAL" clId="{CFC32B90-BA81-4118-AC42-5A9FFEA921ED}" dt="2023-10-23T09:56:10.665" v="17" actId="790"/>
          <ac:spMkLst>
            <pc:docMk/>
            <pc:sldMk cId="3831383783" sldId="1352"/>
            <ac:spMk id="5" creationId="{56700296-51A8-1440-440E-D7AA7D6C411B}"/>
          </ac:spMkLst>
        </pc:spChg>
        <pc:spChg chg="mod">
          <ac:chgData name="Makuch, Monika" userId="5f32b3e3-5b05-4c85-90fd-1c5e60f186a0" providerId="ADAL" clId="{CFC32B90-BA81-4118-AC42-5A9FFEA921ED}" dt="2023-10-23T09:56:59.062" v="36" actId="20577"/>
          <ac:spMkLst>
            <pc:docMk/>
            <pc:sldMk cId="3831383783" sldId="1352"/>
            <ac:spMk id="7" creationId="{5BB75E3F-E931-615A-68A2-7BB81C48CFAD}"/>
          </ac:spMkLst>
        </pc:spChg>
        <pc:spChg chg="mod">
          <ac:chgData name="Makuch, Monika" userId="5f32b3e3-5b05-4c85-90fd-1c5e60f186a0" providerId="ADAL" clId="{CFC32B90-BA81-4118-AC42-5A9FFEA921ED}" dt="2023-10-23T09:56:10.677" v="23" actId="790"/>
          <ac:spMkLst>
            <pc:docMk/>
            <pc:sldMk cId="3831383783" sldId="1352"/>
            <ac:spMk id="8" creationId="{470BA70A-2BDE-FA95-B241-FA70FDE67E60}"/>
          </ac:spMkLst>
        </pc:spChg>
        <pc:spChg chg="mod">
          <ac:chgData name="Makuch, Monika" userId="5f32b3e3-5b05-4c85-90fd-1c5e60f186a0" providerId="ADAL" clId="{CFC32B90-BA81-4118-AC42-5A9FFEA921ED}" dt="2023-10-23T09:56:10.680" v="26" actId="790"/>
          <ac:spMkLst>
            <pc:docMk/>
            <pc:sldMk cId="3831383783" sldId="1352"/>
            <ac:spMk id="9" creationId="{8F7477FF-EA27-C0C1-3AD2-776530A4297E}"/>
          </ac:spMkLst>
        </pc:spChg>
        <pc:spChg chg="mod">
          <ac:chgData name="Makuch, Monika" userId="5f32b3e3-5b05-4c85-90fd-1c5e60f186a0" providerId="ADAL" clId="{CFC32B90-BA81-4118-AC42-5A9FFEA921ED}" dt="2023-10-23T09:56:29.164" v="35" actId="313"/>
          <ac:spMkLst>
            <pc:docMk/>
            <pc:sldMk cId="3831383783" sldId="1352"/>
            <ac:spMk id="10" creationId="{F538107F-65D0-6F34-3C3B-5A87C3C26470}"/>
          </ac:spMkLst>
        </pc:spChg>
      </pc:sldChg>
    </pc:docChg>
  </pc:docChgLst>
  <pc:docChgLst>
    <pc:chgData name="Mikielewicz, Magdalena" userId="S::m.mikielewicz@accenture.com::35140045-cb91-483b-900a-2759bb1baba3" providerId="AD" clId="Web-{12E46F6D-2894-DE61-56EB-A49B5A5B4E51}"/>
    <pc:docChg chg="modSld">
      <pc:chgData name="Mikielewicz, Magdalena" userId="S::m.mikielewicz@accenture.com::35140045-cb91-483b-900a-2759bb1baba3" providerId="AD" clId="Web-{12E46F6D-2894-DE61-56EB-A49B5A5B4E51}" dt="2024-03-25T10:23:36.176" v="5" actId="20577"/>
      <pc:docMkLst>
        <pc:docMk/>
      </pc:docMkLst>
      <pc:sldChg chg="modSp">
        <pc:chgData name="Mikielewicz, Magdalena" userId="S::m.mikielewicz@accenture.com::35140045-cb91-483b-900a-2759bb1baba3" providerId="AD" clId="Web-{12E46F6D-2894-DE61-56EB-A49B5A5B4E51}" dt="2024-03-25T10:23:36.176" v="5" actId="20577"/>
        <pc:sldMkLst>
          <pc:docMk/>
          <pc:sldMk cId="1635322474" sldId="1367"/>
        </pc:sldMkLst>
        <pc:spChg chg="mod">
          <ac:chgData name="Mikielewicz, Magdalena" userId="S::m.mikielewicz@accenture.com::35140045-cb91-483b-900a-2759bb1baba3" providerId="AD" clId="Web-{12E46F6D-2894-DE61-56EB-A49B5A5B4E51}" dt="2024-03-25T10:23:36.176" v="5" actId="20577"/>
          <ac:spMkLst>
            <pc:docMk/>
            <pc:sldMk cId="1635322474" sldId="1367"/>
            <ac:spMk id="8" creationId="{25AC138F-CE17-8286-7F11-15E8935E37CB}"/>
          </ac:spMkLst>
        </pc:spChg>
      </pc:sldChg>
    </pc:docChg>
  </pc:docChgLst>
  <pc:docChgLst>
    <pc:chgData name="Jablonska, Martyna" userId="S::martyna.jablonska@accenture.com::61db2c6a-f030-4d6e-a1ab-261fc8f36838" providerId="AD" clId="Web-{FCE35023-51C5-852F-4CBF-BD6778A94A0B}"/>
    <pc:docChg chg="modSld">
      <pc:chgData name="Jablonska, Martyna" userId="S::martyna.jablonska@accenture.com::61db2c6a-f030-4d6e-a1ab-261fc8f36838" providerId="AD" clId="Web-{FCE35023-51C5-852F-4CBF-BD6778A94A0B}" dt="2023-12-08T12:29:38.233" v="23" actId="20577"/>
      <pc:docMkLst>
        <pc:docMk/>
      </pc:docMkLst>
      <pc:sldChg chg="modSp">
        <pc:chgData name="Jablonska, Martyna" userId="S::martyna.jablonska@accenture.com::61db2c6a-f030-4d6e-a1ab-261fc8f36838" providerId="AD" clId="Web-{FCE35023-51C5-852F-4CBF-BD6778A94A0B}" dt="2023-12-08T12:29:38.233" v="23" actId="20577"/>
        <pc:sldMkLst>
          <pc:docMk/>
          <pc:sldMk cId="415718272" sldId="1239"/>
        </pc:sldMkLst>
        <pc:spChg chg="mod">
          <ac:chgData name="Jablonska, Martyna" userId="S::martyna.jablonska@accenture.com::61db2c6a-f030-4d6e-a1ab-261fc8f36838" providerId="AD" clId="Web-{FCE35023-51C5-852F-4CBF-BD6778A94A0B}" dt="2023-12-08T12:29:38.233" v="23" actId="20577"/>
          <ac:spMkLst>
            <pc:docMk/>
            <pc:sldMk cId="415718272" sldId="1239"/>
            <ac:spMk id="5" creationId="{766F8E67-1E56-9DD3-15A5-5C00632E52B7}"/>
          </ac:spMkLst>
        </pc:spChg>
      </pc:sldChg>
      <pc:sldChg chg="modSp">
        <pc:chgData name="Jablonska, Martyna" userId="S::martyna.jablonska@accenture.com::61db2c6a-f030-4d6e-a1ab-261fc8f36838" providerId="AD" clId="Web-{FCE35023-51C5-852F-4CBF-BD6778A94A0B}" dt="2023-12-08T12:26:53.448" v="16" actId="20577"/>
        <pc:sldMkLst>
          <pc:docMk/>
          <pc:sldMk cId="2020901150" sldId="1260"/>
        </pc:sldMkLst>
        <pc:spChg chg="mod">
          <ac:chgData name="Jablonska, Martyna" userId="S::martyna.jablonska@accenture.com::61db2c6a-f030-4d6e-a1ab-261fc8f36838" providerId="AD" clId="Web-{FCE35023-51C5-852F-4CBF-BD6778A94A0B}" dt="2023-12-08T12:26:53.448" v="16" actId="20577"/>
          <ac:spMkLst>
            <pc:docMk/>
            <pc:sldMk cId="2020901150" sldId="1260"/>
            <ac:spMk id="10" creationId="{68D47195-2257-27FD-9554-F23924FA4345}"/>
          </ac:spMkLst>
        </pc:spChg>
      </pc:sldChg>
    </pc:docChg>
  </pc:docChgLst>
  <pc:docChgLst>
    <pc:chgData name="Jablonska, Martyna" userId="S::martyna.jablonska@accenture.com::61db2c6a-f030-4d6e-a1ab-261fc8f36838" providerId="AD" clId="Web-{FF1CAA6D-6346-3ADA-045A-4BF449FA70C1}"/>
    <pc:docChg chg="addSld modSld sldOrd modSection">
      <pc:chgData name="Jablonska, Martyna" userId="S::martyna.jablonska@accenture.com::61db2c6a-f030-4d6e-a1ab-261fc8f36838" providerId="AD" clId="Web-{FF1CAA6D-6346-3ADA-045A-4BF449FA70C1}" dt="2024-01-03T14:25:06.871" v="522" actId="20577"/>
      <pc:docMkLst>
        <pc:docMk/>
      </pc:docMkLst>
      <pc:sldChg chg="modSp add ord replId">
        <pc:chgData name="Jablonska, Martyna" userId="S::martyna.jablonska@accenture.com::61db2c6a-f030-4d6e-a1ab-261fc8f36838" providerId="AD" clId="Web-{FF1CAA6D-6346-3ADA-045A-4BF449FA70C1}" dt="2024-01-03T14:25:06.871" v="522" actId="20577"/>
        <pc:sldMkLst>
          <pc:docMk/>
          <pc:sldMk cId="967545864" sldId="1360"/>
        </pc:sldMkLst>
        <pc:spChg chg="mod">
          <ac:chgData name="Jablonska, Martyna" userId="S::martyna.jablonska@accenture.com::61db2c6a-f030-4d6e-a1ab-261fc8f36838" providerId="AD" clId="Web-{FF1CAA6D-6346-3ADA-045A-4BF449FA70C1}" dt="2024-01-03T14:25:06.871" v="522" actId="20577"/>
          <ac:spMkLst>
            <pc:docMk/>
            <pc:sldMk cId="967545864" sldId="1360"/>
            <ac:spMk id="2" creationId="{D1BDAE81-5210-487E-2053-A550675F318D}"/>
          </ac:spMkLst>
        </pc:spChg>
        <pc:spChg chg="mod">
          <ac:chgData name="Jablonska, Martyna" userId="S::martyna.jablonska@accenture.com::61db2c6a-f030-4d6e-a1ab-261fc8f36838" providerId="AD" clId="Web-{FF1CAA6D-6346-3ADA-045A-4BF449FA70C1}" dt="2024-01-03T14:15:45.274" v="516" actId="14100"/>
          <ac:spMkLst>
            <pc:docMk/>
            <pc:sldMk cId="967545864" sldId="1360"/>
            <ac:spMk id="3" creationId="{F4C8AD0A-C319-8AE0-8884-15C52706DAC1}"/>
          </ac:spMkLst>
        </pc:spChg>
        <pc:spChg chg="mod">
          <ac:chgData name="Jablonska, Martyna" userId="S::martyna.jablonska@accenture.com::61db2c6a-f030-4d6e-a1ab-261fc8f36838" providerId="AD" clId="Web-{FF1CAA6D-6346-3ADA-045A-4BF449FA70C1}" dt="2024-01-03T13:48:56.313" v="17" actId="20577"/>
          <ac:spMkLst>
            <pc:docMk/>
            <pc:sldMk cId="967545864" sldId="1360"/>
            <ac:spMk id="4" creationId="{2BD96514-3005-1CF1-D416-9F344AA27AEC}"/>
          </ac:spMkLst>
        </pc:spChg>
        <pc:spChg chg="mod">
          <ac:chgData name="Jablonska, Martyna" userId="S::martyna.jablonska@accenture.com::61db2c6a-f030-4d6e-a1ab-261fc8f36838" providerId="AD" clId="Web-{FF1CAA6D-6346-3ADA-045A-4BF449FA70C1}" dt="2024-01-03T14:07:15.147" v="288" actId="20577"/>
          <ac:spMkLst>
            <pc:docMk/>
            <pc:sldMk cId="967545864" sldId="1360"/>
            <ac:spMk id="5" creationId="{5B6CBF01-B765-C206-8BF2-EF0DDFDDAA00}"/>
          </ac:spMkLst>
        </pc:spChg>
        <pc:spChg chg="mod">
          <ac:chgData name="Jablonska, Martyna" userId="S::martyna.jablonska@accenture.com::61db2c6a-f030-4d6e-a1ab-261fc8f36838" providerId="AD" clId="Web-{FF1CAA6D-6346-3ADA-045A-4BF449FA70C1}" dt="2024-01-03T14:06:56.084" v="268" actId="20577"/>
          <ac:spMkLst>
            <pc:docMk/>
            <pc:sldMk cId="967545864" sldId="1360"/>
            <ac:spMk id="7" creationId="{5F158B3F-280A-B8F3-A8E6-97B2C4022087}"/>
          </ac:spMkLst>
        </pc:spChg>
        <pc:spChg chg="mod">
          <ac:chgData name="Jablonska, Martyna" userId="S::martyna.jablonska@accenture.com::61db2c6a-f030-4d6e-a1ab-261fc8f36838" providerId="AD" clId="Web-{FF1CAA6D-6346-3ADA-045A-4BF449FA70C1}" dt="2024-01-03T14:21:14.425" v="519" actId="20577"/>
          <ac:spMkLst>
            <pc:docMk/>
            <pc:sldMk cId="967545864" sldId="1360"/>
            <ac:spMk id="8" creationId="{A7CFB635-B6D6-5A76-DE47-21F059720E53}"/>
          </ac:spMkLst>
        </pc:spChg>
        <pc:spChg chg="mod">
          <ac:chgData name="Jablonska, Martyna" userId="S::martyna.jablonska@accenture.com::61db2c6a-f030-4d6e-a1ab-261fc8f36838" providerId="AD" clId="Web-{FF1CAA6D-6346-3ADA-045A-4BF449FA70C1}" dt="2024-01-03T14:00:07.804" v="131" actId="20577"/>
          <ac:spMkLst>
            <pc:docMk/>
            <pc:sldMk cId="967545864" sldId="1360"/>
            <ac:spMk id="9" creationId="{6D0F2BA2-175B-D04C-4464-0C98CEAF44FB}"/>
          </ac:spMkLst>
        </pc:spChg>
        <pc:spChg chg="mod">
          <ac:chgData name="Jablonska, Martyna" userId="S::martyna.jablonska@accenture.com::61db2c6a-f030-4d6e-a1ab-261fc8f36838" providerId="AD" clId="Web-{FF1CAA6D-6346-3ADA-045A-4BF449FA70C1}" dt="2024-01-03T14:15:17.790" v="512" actId="20577"/>
          <ac:spMkLst>
            <pc:docMk/>
            <pc:sldMk cId="967545864" sldId="1360"/>
            <ac:spMk id="10" creationId="{F0157573-32CF-0171-A0CC-E3FC0F34ABF5}"/>
          </ac:spMkLst>
        </pc:spChg>
      </pc:sldChg>
    </pc:docChg>
  </pc:docChgLst>
  <pc:docChgLst>
    <pc:chgData name="Makuch, Monika" userId="5f32b3e3-5b05-4c85-90fd-1c5e60f186a0" providerId="ADAL" clId="{0BABF1CF-5AB2-49B0-8B48-152FE871B83F}"/>
    <pc:docChg chg="undo custSel delSld modSld sldOrd modSection">
      <pc:chgData name="Makuch, Monika" userId="5f32b3e3-5b05-4c85-90fd-1c5e60f186a0" providerId="ADAL" clId="{0BABF1CF-5AB2-49B0-8B48-152FE871B83F}" dt="2024-04-02T10:36:39.506" v="31" actId="20577"/>
      <pc:docMkLst>
        <pc:docMk/>
      </pc:docMkLst>
      <pc:sldChg chg="del">
        <pc:chgData name="Makuch, Monika" userId="5f32b3e3-5b05-4c85-90fd-1c5e60f186a0" providerId="ADAL" clId="{0BABF1CF-5AB2-49B0-8B48-152FE871B83F}" dt="2024-03-26T19:24:27.324" v="0" actId="2696"/>
        <pc:sldMkLst>
          <pc:docMk/>
          <pc:sldMk cId="4179683078" sldId="1221"/>
        </pc:sldMkLst>
      </pc:sldChg>
      <pc:sldChg chg="modSp mod ord modNotesTx">
        <pc:chgData name="Makuch, Monika" userId="5f32b3e3-5b05-4c85-90fd-1c5e60f186a0" providerId="ADAL" clId="{0BABF1CF-5AB2-49B0-8B48-152FE871B83F}" dt="2024-04-02T10:35:54.428" v="26" actId="20577"/>
        <pc:sldMkLst>
          <pc:docMk/>
          <pc:sldMk cId="1733477518" sldId="1252"/>
        </pc:sldMkLst>
        <pc:spChg chg="mod">
          <ac:chgData name="Makuch, Monika" userId="5f32b3e3-5b05-4c85-90fd-1c5e60f186a0" providerId="ADAL" clId="{0BABF1CF-5AB2-49B0-8B48-152FE871B83F}" dt="2024-04-02T10:32:22.759" v="7" actId="313"/>
          <ac:spMkLst>
            <pc:docMk/>
            <pc:sldMk cId="1733477518" sldId="1252"/>
            <ac:spMk id="8" creationId="{A9D0EDE1-319C-F7C6-A99B-9FCF1CAD96E2}"/>
          </ac:spMkLst>
        </pc:spChg>
        <pc:spChg chg="mod">
          <ac:chgData name="Makuch, Monika" userId="5f32b3e3-5b05-4c85-90fd-1c5e60f186a0" providerId="ADAL" clId="{0BABF1CF-5AB2-49B0-8B48-152FE871B83F}" dt="2024-04-02T10:35:54.428" v="26" actId="20577"/>
          <ac:spMkLst>
            <pc:docMk/>
            <pc:sldMk cId="1733477518" sldId="1252"/>
            <ac:spMk id="10" creationId="{68D47195-2257-27FD-9554-F23924FA4345}"/>
          </ac:spMkLst>
        </pc:spChg>
      </pc:sldChg>
      <pc:sldChg chg="modSp mod">
        <pc:chgData name="Makuch, Monika" userId="5f32b3e3-5b05-4c85-90fd-1c5e60f186a0" providerId="ADAL" clId="{0BABF1CF-5AB2-49B0-8B48-152FE871B83F}" dt="2024-04-02T10:36:39.506" v="31" actId="20577"/>
        <pc:sldMkLst>
          <pc:docMk/>
          <pc:sldMk cId="548016973" sldId="1334"/>
        </pc:sldMkLst>
        <pc:spChg chg="mod">
          <ac:chgData name="Makuch, Monika" userId="5f32b3e3-5b05-4c85-90fd-1c5e60f186a0" providerId="ADAL" clId="{0BABF1CF-5AB2-49B0-8B48-152FE871B83F}" dt="2024-04-02T10:36:37.081" v="30" actId="313"/>
          <ac:spMkLst>
            <pc:docMk/>
            <pc:sldMk cId="548016973" sldId="1334"/>
            <ac:spMk id="2" creationId="{933F63B5-DB9A-97EA-580C-E694963932CE}"/>
          </ac:spMkLst>
        </pc:spChg>
        <pc:spChg chg="mod">
          <ac:chgData name="Makuch, Monika" userId="5f32b3e3-5b05-4c85-90fd-1c5e60f186a0" providerId="ADAL" clId="{0BABF1CF-5AB2-49B0-8B48-152FE871B83F}" dt="2024-04-02T10:36:39.506" v="31" actId="20577"/>
          <ac:spMkLst>
            <pc:docMk/>
            <pc:sldMk cId="548016973" sldId="1334"/>
            <ac:spMk id="10" creationId="{A004E5B0-E7EC-3413-16FD-505F7871D475}"/>
          </ac:spMkLst>
        </pc:spChg>
      </pc:sldChg>
    </pc:docChg>
  </pc:docChgLst>
  <pc:docChgLst>
    <pc:chgData name="Mika, Dominik" userId="S::dominik.mika@accenture.com::efccaf76-cde9-4a4d-a77e-bc633d306326" providerId="AD" clId="Web-{7CFDDB1A-6FD5-D452-C294-876AF2A55BE2}"/>
    <pc:docChg chg="modSld">
      <pc:chgData name="Mika, Dominik" userId="S::dominik.mika@accenture.com::efccaf76-cde9-4a4d-a77e-bc633d306326" providerId="AD" clId="Web-{7CFDDB1A-6FD5-D452-C294-876AF2A55BE2}" dt="2023-12-13T09:10:18.427" v="2" actId="14100"/>
      <pc:docMkLst>
        <pc:docMk/>
      </pc:docMkLst>
      <pc:sldChg chg="addSp delSp modSp">
        <pc:chgData name="Mika, Dominik" userId="S::dominik.mika@accenture.com::efccaf76-cde9-4a4d-a77e-bc633d306326" providerId="AD" clId="Web-{7CFDDB1A-6FD5-D452-C294-876AF2A55BE2}" dt="2023-12-13T09:10:18.427" v="2" actId="14100"/>
        <pc:sldMkLst>
          <pc:docMk/>
          <pc:sldMk cId="4109088728" sldId="1355"/>
        </pc:sldMkLst>
        <pc:spChg chg="del">
          <ac:chgData name="Mika, Dominik" userId="S::dominik.mika@accenture.com::efccaf76-cde9-4a4d-a77e-bc633d306326" providerId="AD" clId="Web-{7CFDDB1A-6FD5-D452-C294-876AF2A55BE2}" dt="2023-12-13T09:09:50.209" v="0"/>
          <ac:spMkLst>
            <pc:docMk/>
            <pc:sldMk cId="4109088728" sldId="1355"/>
            <ac:spMk id="6" creationId="{B3130C68-B3E9-8469-CDC1-596925D7644C}"/>
          </ac:spMkLst>
        </pc:spChg>
        <pc:picChg chg="add mod ord">
          <ac:chgData name="Mika, Dominik" userId="S::dominik.mika@accenture.com::efccaf76-cde9-4a4d-a77e-bc633d306326" providerId="AD" clId="Web-{7CFDDB1A-6FD5-D452-C294-876AF2A55BE2}" dt="2023-12-13T09:10:18.427" v="2" actId="14100"/>
          <ac:picMkLst>
            <pc:docMk/>
            <pc:sldMk cId="4109088728" sldId="1355"/>
            <ac:picMk id="5" creationId="{03D4E6A1-7BF3-CBB8-2D34-79893AD5C980}"/>
          </ac:picMkLst>
        </pc:picChg>
      </pc:sldChg>
    </pc:docChg>
  </pc:docChgLst>
  <pc:docChgLst>
    <pc:chgData name="Plis, Rafal" userId="f719748d-d0fa-4251-b5f3-c0abc14e35af" providerId="ADAL" clId="{C6B46F3B-3E57-42CE-9CA8-0DDFF26BA501}"/>
    <pc:docChg chg="undo custSel modSld">
      <pc:chgData name="Plis, Rafal" userId="f719748d-d0fa-4251-b5f3-c0abc14e35af" providerId="ADAL" clId="{C6B46F3B-3E57-42CE-9CA8-0DDFF26BA501}" dt="2024-03-25T09:24:20.439" v="313" actId="20577"/>
      <pc:docMkLst>
        <pc:docMk/>
      </pc:docMkLst>
      <pc:sldChg chg="modSp mod">
        <pc:chgData name="Plis, Rafal" userId="f719748d-d0fa-4251-b5f3-c0abc14e35af" providerId="ADAL" clId="{C6B46F3B-3E57-42CE-9CA8-0DDFF26BA501}" dt="2024-03-25T09:24:20.439" v="313" actId="20577"/>
        <pc:sldMkLst>
          <pc:docMk/>
          <pc:sldMk cId="1731765507" sldId="1343"/>
        </pc:sldMkLst>
        <pc:spChg chg="mod">
          <ac:chgData name="Plis, Rafal" userId="f719748d-d0fa-4251-b5f3-c0abc14e35af" providerId="ADAL" clId="{C6B46F3B-3E57-42CE-9CA8-0DDFF26BA501}" dt="2024-02-20T09:22:43.673" v="264" actId="20577"/>
          <ac:spMkLst>
            <pc:docMk/>
            <pc:sldMk cId="1731765507" sldId="1343"/>
            <ac:spMk id="3" creationId="{89BADFF7-94B3-EAFF-AB1C-6D0ABEF9337C}"/>
          </ac:spMkLst>
        </pc:spChg>
        <pc:spChg chg="mod">
          <ac:chgData name="Plis, Rafal" userId="f719748d-d0fa-4251-b5f3-c0abc14e35af" providerId="ADAL" clId="{C6B46F3B-3E57-42CE-9CA8-0DDFF26BA501}" dt="2024-03-25T09:24:20.439" v="313" actId="20577"/>
          <ac:spMkLst>
            <pc:docMk/>
            <pc:sldMk cId="1731765507" sldId="1343"/>
            <ac:spMk id="8" creationId="{A9D0EDE1-319C-F7C6-A99B-9FCF1CAD96E2}"/>
          </ac:spMkLst>
        </pc:spChg>
      </pc:sldChg>
    </pc:docChg>
  </pc:docChgLst>
  <pc:docChgLst>
    <pc:chgData name="Górajek, Julian" userId="S::julian.gorajek@accenture.com::8625b1db-1d6b-4bb8-98e7-ebc5c65ba918" providerId="AD" clId="Web-{61105C65-66DD-42A1-958E-18644DC9577E}"/>
    <pc:docChg chg="modSld">
      <pc:chgData name="Górajek, Julian" userId="S::julian.gorajek@accenture.com::8625b1db-1d6b-4bb8-98e7-ebc5c65ba918" providerId="AD" clId="Web-{61105C65-66DD-42A1-958E-18644DC9577E}" dt="2024-02-01T15:28:28.521" v="91" actId="20577"/>
      <pc:docMkLst>
        <pc:docMk/>
      </pc:docMkLst>
      <pc:sldChg chg="modSp">
        <pc:chgData name="Górajek, Julian" userId="S::julian.gorajek@accenture.com::8625b1db-1d6b-4bb8-98e7-ebc5c65ba918" providerId="AD" clId="Web-{61105C65-66DD-42A1-958E-18644DC9577E}" dt="2024-02-01T15:28:28.521" v="91" actId="20577"/>
        <pc:sldMkLst>
          <pc:docMk/>
          <pc:sldMk cId="3349555335" sldId="1362"/>
        </pc:sldMkLst>
        <pc:spChg chg="mod">
          <ac:chgData name="Górajek, Julian" userId="S::julian.gorajek@accenture.com::8625b1db-1d6b-4bb8-98e7-ebc5c65ba918" providerId="AD" clId="Web-{61105C65-66DD-42A1-958E-18644DC9577E}" dt="2024-02-01T15:06:02.614" v="34" actId="20577"/>
          <ac:spMkLst>
            <pc:docMk/>
            <pc:sldMk cId="3349555335" sldId="1362"/>
            <ac:spMk id="7" creationId="{33BC7E8F-321D-D3EA-93F2-9277C71CE905}"/>
          </ac:spMkLst>
        </pc:spChg>
        <pc:spChg chg="mod">
          <ac:chgData name="Górajek, Julian" userId="S::julian.gorajek@accenture.com::8625b1db-1d6b-4bb8-98e7-ebc5c65ba918" providerId="AD" clId="Web-{61105C65-66DD-42A1-958E-18644DC9577E}" dt="2024-02-01T15:26:27.096" v="88" actId="20577"/>
          <ac:spMkLst>
            <pc:docMk/>
            <pc:sldMk cId="3349555335" sldId="1362"/>
            <ac:spMk id="8" creationId="{21B27FAC-F4D8-14FA-E816-E0F5A6718CC9}"/>
          </ac:spMkLst>
        </pc:spChg>
        <pc:spChg chg="mod">
          <ac:chgData name="Górajek, Julian" userId="S::julian.gorajek@accenture.com::8625b1db-1d6b-4bb8-98e7-ebc5c65ba918" providerId="AD" clId="Web-{61105C65-66DD-42A1-958E-18644DC9577E}" dt="2024-02-01T15:28:28.521" v="91" actId="20577"/>
          <ac:spMkLst>
            <pc:docMk/>
            <pc:sldMk cId="3349555335" sldId="1362"/>
            <ac:spMk id="10" creationId="{6544F642-4FD7-D49B-CDFE-2E39F605B09B}"/>
          </ac:spMkLst>
        </pc:spChg>
      </pc:sldChg>
    </pc:docChg>
  </pc:docChgLst>
  <pc:docChgLst>
    <pc:chgData name="Watorski, Piotr" userId="S::piotr.watorski@accenture.com::e80781d4-c18b-43e1-83e4-2c12144fc2b3" providerId="AD" clId="Web-{2086DB3B-4591-8DCA-5898-0FEDE2ACC753}"/>
    <pc:docChg chg="modSld">
      <pc:chgData name="Watorski, Piotr" userId="S::piotr.watorski@accenture.com::e80781d4-c18b-43e1-83e4-2c12144fc2b3" providerId="AD" clId="Web-{2086DB3B-4591-8DCA-5898-0FEDE2ACC753}" dt="2024-01-11T13:50:58.348" v="202" actId="20577"/>
      <pc:docMkLst>
        <pc:docMk/>
      </pc:docMkLst>
      <pc:sldChg chg="modSp">
        <pc:chgData name="Watorski, Piotr" userId="S::piotr.watorski@accenture.com::e80781d4-c18b-43e1-83e4-2c12144fc2b3" providerId="AD" clId="Web-{2086DB3B-4591-8DCA-5898-0FEDE2ACC753}" dt="2024-01-11T13:50:58.348" v="202" actId="20577"/>
        <pc:sldMkLst>
          <pc:docMk/>
          <pc:sldMk cId="1628365231" sldId="1311"/>
        </pc:sldMkLst>
        <pc:spChg chg="mod">
          <ac:chgData name="Watorski, Piotr" userId="S::piotr.watorski@accenture.com::e80781d4-c18b-43e1-83e4-2c12144fc2b3" providerId="AD" clId="Web-{2086DB3B-4591-8DCA-5898-0FEDE2ACC753}" dt="2024-01-11T13:50:58.348" v="202" actId="20577"/>
          <ac:spMkLst>
            <pc:docMk/>
            <pc:sldMk cId="1628365231" sldId="1311"/>
            <ac:spMk id="2" creationId="{911674FA-AAB1-290E-AC82-CA87E6310AA5}"/>
          </ac:spMkLst>
        </pc:spChg>
        <pc:spChg chg="mod">
          <ac:chgData name="Watorski, Piotr" userId="S::piotr.watorski@accenture.com::e80781d4-c18b-43e1-83e4-2c12144fc2b3" providerId="AD" clId="Web-{2086DB3B-4591-8DCA-5898-0FEDE2ACC753}" dt="2024-01-11T13:44:54.214" v="52" actId="20577"/>
          <ac:spMkLst>
            <pc:docMk/>
            <pc:sldMk cId="1628365231" sldId="1311"/>
            <ac:spMk id="8" creationId="{A9D0EDE1-319C-F7C6-A99B-9FCF1CAD96E2}"/>
          </ac:spMkLst>
        </pc:spChg>
        <pc:spChg chg="mod">
          <ac:chgData name="Watorski, Piotr" userId="S::piotr.watorski@accenture.com::e80781d4-c18b-43e1-83e4-2c12144fc2b3" providerId="AD" clId="Web-{2086DB3B-4591-8DCA-5898-0FEDE2ACC753}" dt="2024-01-11T13:49:42.096" v="153" actId="20577"/>
          <ac:spMkLst>
            <pc:docMk/>
            <pc:sldMk cId="1628365231" sldId="1311"/>
            <ac:spMk id="10" creationId="{68D47195-2257-27FD-9554-F23924FA4345}"/>
          </ac:spMkLst>
        </pc:spChg>
      </pc:sldChg>
    </pc:docChg>
  </pc:docChgLst>
  <pc:docChgLst>
    <pc:chgData name="Janczewski, Piotr" userId="S::piotr.janczewski@accenture.com::2467fbf0-2ef4-434e-b40e-471cd3a495c7" providerId="AD" clId="Web-{B7746B36-3C0E-F1D1-0A79-73E3EB372C51}"/>
    <pc:docChg chg="addSld delSld modSection">
      <pc:chgData name="Janczewski, Piotr" userId="S::piotr.janczewski@accenture.com::2467fbf0-2ef4-434e-b40e-471cd3a495c7" providerId="AD" clId="Web-{B7746B36-3C0E-F1D1-0A79-73E3EB372C51}" dt="2024-03-13T14:47:16.335" v="1"/>
      <pc:docMkLst>
        <pc:docMk/>
      </pc:docMkLst>
      <pc:sldChg chg="add del">
        <pc:chgData name="Janczewski, Piotr" userId="S::piotr.janczewski@accenture.com::2467fbf0-2ef4-434e-b40e-471cd3a495c7" providerId="AD" clId="Web-{B7746B36-3C0E-F1D1-0A79-73E3EB372C51}" dt="2024-03-13T14:47:16.335" v="1"/>
        <pc:sldMkLst>
          <pc:docMk/>
          <pc:sldMk cId="1733477518" sldId="1252"/>
        </pc:sldMkLst>
      </pc:sldChg>
    </pc:docChg>
  </pc:docChgLst>
  <pc:docChgLst>
    <pc:chgData name="Biolik, Joanna" userId="7237554e-7084-45da-b3a3-93bd49020d95" providerId="ADAL" clId="{7A3AB7D1-020B-4597-AB32-F7E6FAFA27E4}"/>
    <pc:docChg chg="undo custSel modSld">
      <pc:chgData name="Biolik, Joanna" userId="7237554e-7084-45da-b3a3-93bd49020d95" providerId="ADAL" clId="{7A3AB7D1-020B-4597-AB32-F7E6FAFA27E4}" dt="2023-11-21T14:24:10.498" v="274"/>
      <pc:docMkLst>
        <pc:docMk/>
      </pc:docMkLst>
      <pc:sldChg chg="modSp mod">
        <pc:chgData name="Biolik, Joanna" userId="7237554e-7084-45da-b3a3-93bd49020d95" providerId="ADAL" clId="{7A3AB7D1-020B-4597-AB32-F7E6FAFA27E4}" dt="2023-11-07T08:55:11.876" v="222" actId="14100"/>
        <pc:sldMkLst>
          <pc:docMk/>
          <pc:sldMk cId="210554779" sldId="1225"/>
        </pc:sldMkLst>
        <pc:picChg chg="mod">
          <ac:chgData name="Biolik, Joanna" userId="7237554e-7084-45da-b3a3-93bd49020d95" providerId="ADAL" clId="{7A3AB7D1-020B-4597-AB32-F7E6FAFA27E4}" dt="2023-11-07T08:55:11.876" v="222" actId="14100"/>
          <ac:picMkLst>
            <pc:docMk/>
            <pc:sldMk cId="210554779" sldId="1225"/>
            <ac:picMk id="14" creationId="{0E9423FC-3D33-479E-1DC1-5ECF6FF2BDCA}"/>
          </ac:picMkLst>
        </pc:picChg>
      </pc:sldChg>
      <pc:sldChg chg="modSp mod">
        <pc:chgData name="Biolik, Joanna" userId="7237554e-7084-45da-b3a3-93bd49020d95" providerId="ADAL" clId="{7A3AB7D1-020B-4597-AB32-F7E6FAFA27E4}" dt="2023-11-07T08:55:33.748" v="223" actId="14100"/>
        <pc:sldMkLst>
          <pc:docMk/>
          <pc:sldMk cId="939582027" sldId="1235"/>
        </pc:sldMkLst>
        <pc:spChg chg="mod">
          <ac:chgData name="Biolik, Joanna" userId="7237554e-7084-45da-b3a3-93bd49020d95" providerId="ADAL" clId="{7A3AB7D1-020B-4597-AB32-F7E6FAFA27E4}" dt="2023-11-07T08:55:33.748" v="223" actId="14100"/>
          <ac:spMkLst>
            <pc:docMk/>
            <pc:sldMk cId="939582027" sldId="1235"/>
            <ac:spMk id="5" creationId="{766F8E67-1E56-9DD3-15A5-5C00632E52B7}"/>
          </ac:spMkLst>
        </pc:spChg>
      </pc:sldChg>
      <pc:sldChg chg="modSp mod">
        <pc:chgData name="Biolik, Joanna" userId="7237554e-7084-45da-b3a3-93bd49020d95" providerId="ADAL" clId="{7A3AB7D1-020B-4597-AB32-F7E6FAFA27E4}" dt="2023-11-21T14:24:10.498" v="274"/>
        <pc:sldMkLst>
          <pc:docMk/>
          <pc:sldMk cId="2718533031" sldId="1244"/>
        </pc:sldMkLst>
        <pc:spChg chg="mod">
          <ac:chgData name="Biolik, Joanna" userId="7237554e-7084-45da-b3a3-93bd49020d95" providerId="ADAL" clId="{7A3AB7D1-020B-4597-AB32-F7E6FAFA27E4}" dt="2023-11-21T14:24:10.498" v="274"/>
          <ac:spMkLst>
            <pc:docMk/>
            <pc:sldMk cId="2718533031" sldId="1244"/>
            <ac:spMk id="2" creationId="{BDAFD942-EC32-EFA3-88EC-044834D794F5}"/>
          </ac:spMkLst>
        </pc:spChg>
        <pc:spChg chg="mod">
          <ac:chgData name="Biolik, Joanna" userId="7237554e-7084-45da-b3a3-93bd49020d95" providerId="ADAL" clId="{7A3AB7D1-020B-4597-AB32-F7E6FAFA27E4}" dt="2023-11-21T14:23:13.363" v="232" actId="20577"/>
          <ac:spMkLst>
            <pc:docMk/>
            <pc:sldMk cId="2718533031" sldId="1244"/>
            <ac:spMk id="3" creationId="{4B29FD8F-31A5-2F32-ACF6-5A09CF04D261}"/>
          </ac:spMkLst>
        </pc:spChg>
      </pc:sldChg>
      <pc:sldChg chg="modSp mod">
        <pc:chgData name="Biolik, Joanna" userId="7237554e-7084-45da-b3a3-93bd49020d95" providerId="ADAL" clId="{7A3AB7D1-020B-4597-AB32-F7E6FAFA27E4}" dt="2023-11-07T08:57:18.193" v="226" actId="1036"/>
        <pc:sldMkLst>
          <pc:docMk/>
          <pc:sldMk cId="166479993" sldId="1263"/>
        </pc:sldMkLst>
        <pc:picChg chg="mod">
          <ac:chgData name="Biolik, Joanna" userId="7237554e-7084-45da-b3a3-93bd49020d95" providerId="ADAL" clId="{7A3AB7D1-020B-4597-AB32-F7E6FAFA27E4}" dt="2023-11-07T08:57:18.193" v="226" actId="1036"/>
          <ac:picMkLst>
            <pc:docMk/>
            <pc:sldMk cId="166479993" sldId="1263"/>
            <ac:picMk id="16" creationId="{373442CC-B260-A648-4D93-09AC1EBEF70F}"/>
          </ac:picMkLst>
        </pc:picChg>
      </pc:sldChg>
      <pc:sldChg chg="modSp mod">
        <pc:chgData name="Biolik, Joanna" userId="7237554e-7084-45da-b3a3-93bd49020d95" providerId="ADAL" clId="{7A3AB7D1-020B-4597-AB32-F7E6FAFA27E4}" dt="2023-11-07T08:58:08.740" v="227" actId="1036"/>
        <pc:sldMkLst>
          <pc:docMk/>
          <pc:sldMk cId="3967085744" sldId="1347"/>
        </pc:sldMkLst>
        <pc:picChg chg="mod">
          <ac:chgData name="Biolik, Joanna" userId="7237554e-7084-45da-b3a3-93bd49020d95" providerId="ADAL" clId="{7A3AB7D1-020B-4597-AB32-F7E6FAFA27E4}" dt="2023-11-07T08:58:08.740" v="227" actId="1036"/>
          <ac:picMkLst>
            <pc:docMk/>
            <pc:sldMk cId="3967085744" sldId="1347"/>
            <ac:picMk id="12" creationId="{1D889097-8DDD-3976-8E85-BCA56E0D7BDF}"/>
          </ac:picMkLst>
        </pc:picChg>
      </pc:sldChg>
      <pc:sldChg chg="modSp mod modNotesTx">
        <pc:chgData name="Biolik, Joanna" userId="7237554e-7084-45da-b3a3-93bd49020d95" providerId="ADAL" clId="{7A3AB7D1-020B-4597-AB32-F7E6FAFA27E4}" dt="2023-10-17T11:01:19.136" v="203" actId="20577"/>
        <pc:sldMkLst>
          <pc:docMk/>
          <pc:sldMk cId="3202719610" sldId="1351"/>
        </pc:sldMkLst>
        <pc:spChg chg="mod">
          <ac:chgData name="Biolik, Joanna" userId="7237554e-7084-45da-b3a3-93bd49020d95" providerId="ADAL" clId="{7A3AB7D1-020B-4597-AB32-F7E6FAFA27E4}" dt="2023-10-16T14:31:55.048" v="98" actId="790"/>
          <ac:spMkLst>
            <pc:docMk/>
            <pc:sldMk cId="3202719610" sldId="1351"/>
            <ac:spMk id="2" creationId="{1692525E-A870-A45E-6DDE-5DA273AC6EED}"/>
          </ac:spMkLst>
        </pc:spChg>
        <pc:spChg chg="mod">
          <ac:chgData name="Biolik, Joanna" userId="7237554e-7084-45da-b3a3-93bd49020d95" providerId="ADAL" clId="{7A3AB7D1-020B-4597-AB32-F7E6FAFA27E4}" dt="2023-10-16T14:35:40.294" v="198" actId="20577"/>
          <ac:spMkLst>
            <pc:docMk/>
            <pc:sldMk cId="3202719610" sldId="1351"/>
            <ac:spMk id="3" creationId="{66CC37AE-8AAF-7900-9240-93D574D86204}"/>
          </ac:spMkLst>
        </pc:spChg>
        <pc:spChg chg="mod">
          <ac:chgData name="Biolik, Joanna" userId="7237554e-7084-45da-b3a3-93bd49020d95" providerId="ADAL" clId="{7A3AB7D1-020B-4597-AB32-F7E6FAFA27E4}" dt="2023-10-16T14:36:36.022" v="202" actId="1035"/>
          <ac:spMkLst>
            <pc:docMk/>
            <pc:sldMk cId="3202719610" sldId="1351"/>
            <ac:spMk id="8" creationId="{21B27FAC-F4D8-14FA-E816-E0F5A6718CC9}"/>
          </ac:spMkLst>
        </pc:spChg>
        <pc:spChg chg="mod">
          <ac:chgData name="Biolik, Joanna" userId="7237554e-7084-45da-b3a3-93bd49020d95" providerId="ADAL" clId="{7A3AB7D1-020B-4597-AB32-F7E6FAFA27E4}" dt="2023-10-17T11:01:19.136" v="203" actId="20577"/>
          <ac:spMkLst>
            <pc:docMk/>
            <pc:sldMk cId="3202719610" sldId="1351"/>
            <ac:spMk id="10" creationId="{6544F642-4FD7-D49B-CDFE-2E39F605B09B}"/>
          </ac:spMkLst>
        </pc:spChg>
      </pc:sldChg>
      <pc:sldChg chg="modNotesTx">
        <pc:chgData name="Biolik, Joanna" userId="7237554e-7084-45da-b3a3-93bd49020d95" providerId="ADAL" clId="{7A3AB7D1-020B-4597-AB32-F7E6FAFA27E4}" dt="2023-11-02T09:54:11.866" v="218" actId="20577"/>
        <pc:sldMkLst>
          <pc:docMk/>
          <pc:sldMk cId="628719752" sldId="1353"/>
        </pc:sldMkLst>
      </pc:sldChg>
    </pc:docChg>
  </pc:docChgLst>
  <pc:docChgLst>
    <pc:chgData name="Górski, Adam" userId="S::adam.gorski@accenture.com::ef48f5a5-9a98-4e41-9c63-9fdf5cc81b73" providerId="AD" clId="Web-{70D61526-6CED-FAB3-4F54-20D6C1C8FE3D}"/>
    <pc:docChg chg="modSld">
      <pc:chgData name="Górski, Adam" userId="S::adam.gorski@accenture.com::ef48f5a5-9a98-4e41-9c63-9fdf5cc81b73" providerId="AD" clId="Web-{70D61526-6CED-FAB3-4F54-20D6C1C8FE3D}" dt="2024-02-02T12:56:33.909" v="205" actId="1076"/>
      <pc:docMkLst>
        <pc:docMk/>
      </pc:docMkLst>
      <pc:sldChg chg="modSp">
        <pc:chgData name="Górski, Adam" userId="S::adam.gorski@accenture.com::ef48f5a5-9a98-4e41-9c63-9fdf5cc81b73" providerId="AD" clId="Web-{70D61526-6CED-FAB3-4F54-20D6C1C8FE3D}" dt="2024-02-02T12:56:33.909" v="205" actId="1076"/>
        <pc:sldMkLst>
          <pc:docMk/>
          <pc:sldMk cId="967545864" sldId="1360"/>
        </pc:sldMkLst>
        <pc:spChg chg="mod">
          <ac:chgData name="Górski, Adam" userId="S::adam.gorski@accenture.com::ef48f5a5-9a98-4e41-9c63-9fdf5cc81b73" providerId="AD" clId="Web-{70D61526-6CED-FAB3-4F54-20D6C1C8FE3D}" dt="2024-02-02T12:56:33.909" v="205" actId="1076"/>
          <ac:spMkLst>
            <pc:docMk/>
            <pc:sldMk cId="967545864" sldId="1360"/>
            <ac:spMk id="2" creationId="{D1BDAE81-5210-487E-2053-A550675F318D}"/>
          </ac:spMkLst>
        </pc:spChg>
        <pc:spChg chg="mod">
          <ac:chgData name="Górski, Adam" userId="S::adam.gorski@accenture.com::ef48f5a5-9a98-4e41-9c63-9fdf5cc81b73" providerId="AD" clId="Web-{70D61526-6CED-FAB3-4F54-20D6C1C8FE3D}" dt="2024-02-02T11:54:49.723" v="201" actId="20577"/>
          <ac:spMkLst>
            <pc:docMk/>
            <pc:sldMk cId="967545864" sldId="1360"/>
            <ac:spMk id="10" creationId="{F0157573-32CF-0171-A0CC-E3FC0F34ABF5}"/>
          </ac:spMkLst>
        </pc:spChg>
      </pc:sldChg>
    </pc:docChg>
  </pc:docChgLst>
  <pc:docChgLst>
    <pc:chgData name="Sliwinska, Beata" userId="c24a736f-757a-4a19-9bab-a333fc7e3665" providerId="ADAL" clId="{6F32040A-A221-4DB7-8DFE-F6B8EA87CE38}"/>
    <pc:docChg chg="undo custSel modSld sldOrd">
      <pc:chgData name="Sliwinska, Beata" userId="c24a736f-757a-4a19-9bab-a333fc7e3665" providerId="ADAL" clId="{6F32040A-A221-4DB7-8DFE-F6B8EA87CE38}" dt="2024-02-05T10:18:24.305" v="46" actId="14100"/>
      <pc:docMkLst>
        <pc:docMk/>
      </pc:docMkLst>
      <pc:sldChg chg="addSp delSp modSp mod">
        <pc:chgData name="Sliwinska, Beata" userId="c24a736f-757a-4a19-9bab-a333fc7e3665" providerId="ADAL" clId="{6F32040A-A221-4DB7-8DFE-F6B8EA87CE38}" dt="2024-02-05T10:18:24.305" v="46" actId="14100"/>
        <pc:sldMkLst>
          <pc:docMk/>
          <pc:sldMk cId="2360168150" sldId="1296"/>
        </pc:sldMkLst>
        <pc:spChg chg="mod">
          <ac:chgData name="Sliwinska, Beata" userId="c24a736f-757a-4a19-9bab-a333fc7e3665" providerId="ADAL" clId="{6F32040A-A221-4DB7-8DFE-F6B8EA87CE38}" dt="2024-02-05T10:15:32.894" v="9" actId="20577"/>
          <ac:spMkLst>
            <pc:docMk/>
            <pc:sldMk cId="2360168150" sldId="1296"/>
            <ac:spMk id="2" creationId="{911674FA-AAB1-290E-AC82-CA87E6310AA5}"/>
          </ac:spMkLst>
        </pc:spChg>
        <pc:spChg chg="mod">
          <ac:chgData name="Sliwinska, Beata" userId="c24a736f-757a-4a19-9bab-a333fc7e3665" providerId="ADAL" clId="{6F32040A-A221-4DB7-8DFE-F6B8EA87CE38}" dt="2024-02-05T10:17:35.214" v="43" actId="20577"/>
          <ac:spMkLst>
            <pc:docMk/>
            <pc:sldMk cId="2360168150" sldId="1296"/>
            <ac:spMk id="10" creationId="{68D47195-2257-27FD-9554-F23924FA4345}"/>
          </ac:spMkLst>
        </pc:spChg>
        <pc:picChg chg="del">
          <ac:chgData name="Sliwinska, Beata" userId="c24a736f-757a-4a19-9bab-a333fc7e3665" providerId="ADAL" clId="{6F32040A-A221-4DB7-8DFE-F6B8EA87CE38}" dt="2024-02-05T10:14:54.905" v="0" actId="478"/>
          <ac:picMkLst>
            <pc:docMk/>
            <pc:sldMk cId="2360168150" sldId="1296"/>
            <ac:picMk id="11" creationId="{9A93CF52-16D1-4EE5-BEBB-72F43D829D57}"/>
          </ac:picMkLst>
        </pc:picChg>
        <pc:picChg chg="add mod">
          <ac:chgData name="Sliwinska, Beata" userId="c24a736f-757a-4a19-9bab-a333fc7e3665" providerId="ADAL" clId="{6F32040A-A221-4DB7-8DFE-F6B8EA87CE38}" dt="2024-02-05T10:18:24.305" v="46" actId="14100"/>
          <ac:picMkLst>
            <pc:docMk/>
            <pc:sldMk cId="2360168150" sldId="1296"/>
            <ac:picMk id="12" creationId="{423B9723-FC6B-E16C-7036-A25F99809231}"/>
          </ac:picMkLst>
        </pc:picChg>
      </pc:sldChg>
      <pc:sldChg chg="ord">
        <pc:chgData name="Sliwinska, Beata" userId="c24a736f-757a-4a19-9bab-a333fc7e3665" providerId="ADAL" clId="{6F32040A-A221-4DB7-8DFE-F6B8EA87CE38}" dt="2024-02-05T10:15:42.459" v="10" actId="20578"/>
        <pc:sldMkLst>
          <pc:docMk/>
          <pc:sldMk cId="2033637370" sldId="1299"/>
        </pc:sldMkLst>
      </pc:sldChg>
    </pc:docChg>
  </pc:docChgLst>
  <pc:docChgLst>
    <pc:chgData name="Surdacki, Lukasz" userId="S::lukasz.surdacki@accenture.com::ce123e74-4454-46c1-bb0c-668acd036729" providerId="AD" clId="Web-{E46570D7-4A01-EE16-35BD-2C66DFC954FF}"/>
    <pc:docChg chg="addSld modSld modSection">
      <pc:chgData name="Surdacki, Lukasz" userId="S::lukasz.surdacki@accenture.com::ce123e74-4454-46c1-bb0c-668acd036729" providerId="AD" clId="Web-{E46570D7-4A01-EE16-35BD-2C66DFC954FF}" dt="2024-02-09T12:45:48.598" v="273" actId="20577"/>
      <pc:docMkLst>
        <pc:docMk/>
      </pc:docMkLst>
      <pc:sldChg chg="modSp add replId">
        <pc:chgData name="Surdacki, Lukasz" userId="S::lukasz.surdacki@accenture.com::ce123e74-4454-46c1-bb0c-668acd036729" providerId="AD" clId="Web-{E46570D7-4A01-EE16-35BD-2C66DFC954FF}" dt="2024-02-09T12:45:48.598" v="273" actId="20577"/>
        <pc:sldMkLst>
          <pc:docMk/>
          <pc:sldMk cId="282247140" sldId="1363"/>
        </pc:sldMkLst>
        <pc:spChg chg="mod">
          <ac:chgData name="Surdacki, Lukasz" userId="S::lukasz.surdacki@accenture.com::ce123e74-4454-46c1-bb0c-668acd036729" providerId="AD" clId="Web-{E46570D7-4A01-EE16-35BD-2C66DFC954FF}" dt="2024-02-08T14:28:52.346" v="19" actId="20577"/>
          <ac:spMkLst>
            <pc:docMk/>
            <pc:sldMk cId="282247140" sldId="1363"/>
            <ac:spMk id="2" creationId="{AAB8BB9D-0FB6-62BF-E1B5-48D59B98FF35}"/>
          </ac:spMkLst>
        </pc:spChg>
        <pc:spChg chg="mod">
          <ac:chgData name="Surdacki, Lukasz" userId="S::lukasz.surdacki@accenture.com::ce123e74-4454-46c1-bb0c-668acd036729" providerId="AD" clId="Web-{E46570D7-4A01-EE16-35BD-2C66DFC954FF}" dt="2024-02-09T12:45:48.598" v="273" actId="20577"/>
          <ac:spMkLst>
            <pc:docMk/>
            <pc:sldMk cId="282247140" sldId="1363"/>
            <ac:spMk id="3" creationId="{512B5AAB-36CC-B248-45FC-EE79F3757952}"/>
          </ac:spMkLst>
        </pc:spChg>
        <pc:spChg chg="mod">
          <ac:chgData name="Surdacki, Lukasz" userId="S::lukasz.surdacki@accenture.com::ce123e74-4454-46c1-bb0c-668acd036729" providerId="AD" clId="Web-{E46570D7-4A01-EE16-35BD-2C66DFC954FF}" dt="2024-02-08T14:23:44.168" v="3" actId="20577"/>
          <ac:spMkLst>
            <pc:docMk/>
            <pc:sldMk cId="282247140" sldId="1363"/>
            <ac:spMk id="4" creationId="{C86BA3DB-B572-7A7D-1449-1BB8574AED12}"/>
          </ac:spMkLst>
        </pc:spChg>
        <pc:spChg chg="mod">
          <ac:chgData name="Surdacki, Lukasz" userId="S::lukasz.surdacki@accenture.com::ce123e74-4454-46c1-bb0c-668acd036729" providerId="AD" clId="Web-{E46570D7-4A01-EE16-35BD-2C66DFC954FF}" dt="2024-02-09T08:21:41.180" v="264" actId="20577"/>
          <ac:spMkLst>
            <pc:docMk/>
            <pc:sldMk cId="282247140" sldId="1363"/>
            <ac:spMk id="5" creationId="{56700296-51A8-1440-440E-D7AA7D6C411B}"/>
          </ac:spMkLst>
        </pc:spChg>
        <pc:spChg chg="mod">
          <ac:chgData name="Surdacki, Lukasz" userId="S::lukasz.surdacki@accenture.com::ce123e74-4454-46c1-bb0c-668acd036729" providerId="AD" clId="Web-{E46570D7-4A01-EE16-35BD-2C66DFC954FF}" dt="2024-02-08T14:47:24.947" v="136" actId="20577"/>
          <ac:spMkLst>
            <pc:docMk/>
            <pc:sldMk cId="282247140" sldId="1363"/>
            <ac:spMk id="7" creationId="{5BB75E3F-E931-615A-68A2-7BB81C48CFAD}"/>
          </ac:spMkLst>
        </pc:spChg>
        <pc:spChg chg="mod">
          <ac:chgData name="Surdacki, Lukasz" userId="S::lukasz.surdacki@accenture.com::ce123e74-4454-46c1-bb0c-668acd036729" providerId="AD" clId="Web-{E46570D7-4A01-EE16-35BD-2C66DFC954FF}" dt="2024-02-08T14:46:02.430" v="133" actId="20577"/>
          <ac:spMkLst>
            <pc:docMk/>
            <pc:sldMk cId="282247140" sldId="1363"/>
            <ac:spMk id="8" creationId="{470BA70A-2BDE-FA95-B241-FA70FDE67E60}"/>
          </ac:spMkLst>
        </pc:spChg>
        <pc:spChg chg="mod">
          <ac:chgData name="Surdacki, Lukasz" userId="S::lukasz.surdacki@accenture.com::ce123e74-4454-46c1-bb0c-668acd036729" providerId="AD" clId="Web-{E46570D7-4A01-EE16-35BD-2C66DFC954FF}" dt="2024-02-08T14:52:04.156" v="221" actId="20577"/>
          <ac:spMkLst>
            <pc:docMk/>
            <pc:sldMk cId="282247140" sldId="1363"/>
            <ac:spMk id="9" creationId="{8F7477FF-EA27-C0C1-3AD2-776530A4297E}"/>
          </ac:spMkLst>
        </pc:spChg>
        <pc:spChg chg="mod">
          <ac:chgData name="Surdacki, Lukasz" userId="S::lukasz.surdacki@accenture.com::ce123e74-4454-46c1-bb0c-668acd036729" providerId="AD" clId="Web-{E46570D7-4A01-EE16-35BD-2C66DFC954FF}" dt="2024-02-08T15:17:54.781" v="259" actId="20577"/>
          <ac:spMkLst>
            <pc:docMk/>
            <pc:sldMk cId="282247140" sldId="1363"/>
            <ac:spMk id="10" creationId="{F538107F-65D0-6F34-3C3B-5A87C3C26470}"/>
          </ac:spMkLst>
        </pc:spChg>
        <pc:picChg chg="mod">
          <ac:chgData name="Surdacki, Lukasz" userId="S::lukasz.surdacki@accenture.com::ce123e74-4454-46c1-bb0c-668acd036729" providerId="AD" clId="Web-{E46570D7-4A01-EE16-35BD-2C66DFC954FF}" dt="2024-02-08T14:23:27.652" v="2"/>
          <ac:picMkLst>
            <pc:docMk/>
            <pc:sldMk cId="282247140" sldId="1363"/>
            <ac:picMk id="6" creationId="{C8075086-34CA-C65A-590E-3450FAF1CAAA}"/>
          </ac:picMkLst>
        </pc:picChg>
      </pc:sldChg>
    </pc:docChg>
  </pc:docChgLst>
  <pc:docChgLst>
    <pc:chgData name="Norel, Mateusz" userId="4f983e71-d822-4f10-ae3c-0b42ed070b08" providerId="ADAL" clId="{3C87ADF7-D7CC-47A3-9DB7-42359D7861D0}"/>
    <pc:docChg chg="undo custSel modSld">
      <pc:chgData name="Norel, Mateusz" userId="4f983e71-d822-4f10-ae3c-0b42ed070b08" providerId="ADAL" clId="{3C87ADF7-D7CC-47A3-9DB7-42359D7861D0}" dt="2024-03-04T14:42:37.659" v="558" actId="14100"/>
      <pc:docMkLst>
        <pc:docMk/>
      </pc:docMkLst>
      <pc:sldChg chg="modSp mod">
        <pc:chgData name="Norel, Mateusz" userId="4f983e71-d822-4f10-ae3c-0b42ed070b08" providerId="ADAL" clId="{3C87ADF7-D7CC-47A3-9DB7-42359D7861D0}" dt="2024-03-04T14:42:37.659" v="558" actId="14100"/>
        <pc:sldMkLst>
          <pc:docMk/>
          <pc:sldMk cId="566295239" sldId="1277"/>
        </pc:sldMkLst>
        <pc:spChg chg="mod">
          <ac:chgData name="Norel, Mateusz" userId="4f983e71-d822-4f10-ae3c-0b42ed070b08" providerId="ADAL" clId="{3C87ADF7-D7CC-47A3-9DB7-42359D7861D0}" dt="2024-03-04T14:37:28.574" v="421" actId="6549"/>
          <ac:spMkLst>
            <pc:docMk/>
            <pc:sldMk cId="566295239" sldId="1277"/>
            <ac:spMk id="8" creationId="{A9D0EDE1-319C-F7C6-A99B-9FCF1CAD96E2}"/>
          </ac:spMkLst>
        </pc:spChg>
        <pc:spChg chg="mod">
          <ac:chgData name="Norel, Mateusz" userId="4f983e71-d822-4f10-ae3c-0b42ed070b08" providerId="ADAL" clId="{3C87ADF7-D7CC-47A3-9DB7-42359D7861D0}" dt="2024-03-04T14:42:37.659" v="558" actId="14100"/>
          <ac:spMkLst>
            <pc:docMk/>
            <pc:sldMk cId="566295239" sldId="1277"/>
            <ac:spMk id="10" creationId="{68D47195-2257-27FD-9554-F23924FA4345}"/>
          </ac:spMkLst>
        </pc:spChg>
      </pc:sldChg>
    </pc:docChg>
  </pc:docChgLst>
  <pc:docChgLst>
    <pc:chgData name="Jach, Agnieszka" userId="366b1e26-79c5-4729-9a9f-9e1f21bd2899" providerId="ADAL" clId="{D19AD117-CC46-4E40-8724-A535263D4E4E}"/>
    <pc:docChg chg="undo custSel modSld">
      <pc:chgData name="Jach, Agnieszka" userId="366b1e26-79c5-4729-9a9f-9e1f21bd2899" providerId="ADAL" clId="{D19AD117-CC46-4E40-8724-A535263D4E4E}" dt="2024-01-04T13:47:39.167" v="201" actId="122"/>
      <pc:docMkLst>
        <pc:docMk/>
      </pc:docMkLst>
      <pc:sldChg chg="addSp delSp modSp mod">
        <pc:chgData name="Jach, Agnieszka" userId="366b1e26-79c5-4729-9a9f-9e1f21bd2899" providerId="ADAL" clId="{D19AD117-CC46-4E40-8724-A535263D4E4E}" dt="2024-01-04T13:47:39.167" v="201" actId="122"/>
        <pc:sldMkLst>
          <pc:docMk/>
          <pc:sldMk cId="967545864" sldId="1360"/>
        </pc:sldMkLst>
        <pc:spChg chg="del">
          <ac:chgData name="Jach, Agnieszka" userId="366b1e26-79c5-4729-9a9f-9e1f21bd2899" providerId="ADAL" clId="{D19AD117-CC46-4E40-8724-A535263D4E4E}" dt="2024-01-04T11:22:43.087" v="163" actId="931"/>
          <ac:spMkLst>
            <pc:docMk/>
            <pc:sldMk cId="967545864" sldId="1360"/>
            <ac:spMk id="6" creationId="{8B9646FF-5C64-B352-84A9-FE0E9FA1FF0B}"/>
          </ac:spMkLst>
        </pc:spChg>
        <pc:spChg chg="mod">
          <ac:chgData name="Jach, Agnieszka" userId="366b1e26-79c5-4729-9a9f-9e1f21bd2899" providerId="ADAL" clId="{D19AD117-CC46-4E40-8724-A535263D4E4E}" dt="2024-01-04T11:14:07.476" v="2" actId="404"/>
          <ac:spMkLst>
            <pc:docMk/>
            <pc:sldMk cId="967545864" sldId="1360"/>
            <ac:spMk id="7" creationId="{5F158B3F-280A-B8F3-A8E6-97B2C4022087}"/>
          </ac:spMkLst>
        </pc:spChg>
        <pc:spChg chg="mod">
          <ac:chgData name="Jach, Agnieszka" userId="366b1e26-79c5-4729-9a9f-9e1f21bd2899" providerId="ADAL" clId="{D19AD117-CC46-4E40-8724-A535263D4E4E}" dt="2024-01-04T11:22:02.294" v="161" actId="20577"/>
          <ac:spMkLst>
            <pc:docMk/>
            <pc:sldMk cId="967545864" sldId="1360"/>
            <ac:spMk id="8" creationId="{A7CFB635-B6D6-5A76-DE47-21F059720E53}"/>
          </ac:spMkLst>
        </pc:spChg>
        <pc:spChg chg="mod">
          <ac:chgData name="Jach, Agnieszka" userId="366b1e26-79c5-4729-9a9f-9e1f21bd2899" providerId="ADAL" clId="{D19AD117-CC46-4E40-8724-A535263D4E4E}" dt="2024-01-04T11:17:51.893" v="71" actId="114"/>
          <ac:spMkLst>
            <pc:docMk/>
            <pc:sldMk cId="967545864" sldId="1360"/>
            <ac:spMk id="10" creationId="{F0157573-32CF-0171-A0CC-E3FC0F34ABF5}"/>
          </ac:spMkLst>
        </pc:spChg>
        <pc:spChg chg="add mod">
          <ac:chgData name="Jach, Agnieszka" userId="366b1e26-79c5-4729-9a9f-9e1f21bd2899" providerId="ADAL" clId="{D19AD117-CC46-4E40-8724-A535263D4E4E}" dt="2024-01-04T13:47:39.167" v="201" actId="122"/>
          <ac:spMkLst>
            <pc:docMk/>
            <pc:sldMk cId="967545864" sldId="1360"/>
            <ac:spMk id="13" creationId="{00E9F46B-F649-0841-2908-B277358DDA02}"/>
          </ac:spMkLst>
        </pc:spChg>
        <pc:picChg chg="add mod">
          <ac:chgData name="Jach, Agnieszka" userId="366b1e26-79c5-4729-9a9f-9e1f21bd2899" providerId="ADAL" clId="{D19AD117-CC46-4E40-8724-A535263D4E4E}" dt="2024-01-04T11:22:45.472" v="165" actId="962"/>
          <ac:picMkLst>
            <pc:docMk/>
            <pc:sldMk cId="967545864" sldId="1360"/>
            <ac:picMk id="12" creationId="{85719BC8-D504-153C-C8DB-F0463BD7BC60}"/>
          </ac:picMkLst>
        </pc:picChg>
        <pc:picChg chg="add del mod">
          <ac:chgData name="Jach, Agnieszka" userId="366b1e26-79c5-4729-9a9f-9e1f21bd2899" providerId="ADAL" clId="{D19AD117-CC46-4E40-8724-A535263D4E4E}" dt="2024-01-04T11:22:34.517" v="162" actId="478"/>
          <ac:picMkLst>
            <pc:docMk/>
            <pc:sldMk cId="967545864" sldId="1360"/>
            <ac:picMk id="1026" creationId="{76967D1B-1B66-87EE-F489-3D565E5C30F0}"/>
          </ac:picMkLst>
        </pc:picChg>
      </pc:sldChg>
    </pc:docChg>
  </pc:docChgLst>
  <pc:docChgLst>
    <pc:chgData name="Korneta, Iga" userId="S::iga.korneta@accenture.com::5bb3f265-4f39-4daa-912c-5caa86b505fb" providerId="AD" clId="Web-{9E73E35F-B189-4CF4-696A-9A51B07ED311}"/>
    <pc:docChg chg="modSld">
      <pc:chgData name="Korneta, Iga" userId="S::iga.korneta@accenture.com::5bb3f265-4f39-4daa-912c-5caa86b505fb" providerId="AD" clId="Web-{9E73E35F-B189-4CF4-696A-9A51B07ED311}" dt="2024-03-29T08:07:16.416" v="0" actId="20577"/>
      <pc:docMkLst>
        <pc:docMk/>
      </pc:docMkLst>
      <pc:sldChg chg="modSp">
        <pc:chgData name="Korneta, Iga" userId="S::iga.korneta@accenture.com::5bb3f265-4f39-4daa-912c-5caa86b505fb" providerId="AD" clId="Web-{9E73E35F-B189-4CF4-696A-9A51B07ED311}" dt="2024-03-29T08:07:16.416" v="0" actId="20577"/>
        <pc:sldMkLst>
          <pc:docMk/>
          <pc:sldMk cId="282247140" sldId="1363"/>
        </pc:sldMkLst>
        <pc:spChg chg="mod">
          <ac:chgData name="Korneta, Iga" userId="S::iga.korneta@accenture.com::5bb3f265-4f39-4daa-912c-5caa86b505fb" providerId="AD" clId="Web-{9E73E35F-B189-4CF4-696A-9A51B07ED311}" dt="2024-03-29T08:07:16.416" v="0" actId="20577"/>
          <ac:spMkLst>
            <pc:docMk/>
            <pc:sldMk cId="282247140" sldId="1363"/>
            <ac:spMk id="2" creationId="{AAB8BB9D-0FB6-62BF-E1B5-48D59B98FF35}"/>
          </ac:spMkLst>
        </pc:spChg>
      </pc:sldChg>
    </pc:docChg>
  </pc:docChgLst>
  <pc:docChgLst>
    <pc:chgData name="Florek, Wiktor" userId="S::wiktor.florek@accenture.com::0ca2f558-5343-4b92-8942-a4f4542ac018" providerId="AD" clId="Web-{5A9AECC7-21EF-4A1C-067C-99601DDE0612}"/>
    <pc:docChg chg="modSld">
      <pc:chgData name="Florek, Wiktor" userId="S::wiktor.florek@accenture.com::0ca2f558-5343-4b92-8942-a4f4542ac018" providerId="AD" clId="Web-{5A9AECC7-21EF-4A1C-067C-99601DDE0612}" dt="2024-03-25T15:07:25.145" v="251" actId="20577"/>
      <pc:docMkLst>
        <pc:docMk/>
      </pc:docMkLst>
      <pc:sldChg chg="modSp">
        <pc:chgData name="Florek, Wiktor" userId="S::wiktor.florek@accenture.com::0ca2f558-5343-4b92-8942-a4f4542ac018" providerId="AD" clId="Web-{5A9AECC7-21EF-4A1C-067C-99601DDE0612}" dt="2024-03-25T15:07:25.145" v="251" actId="20577"/>
        <pc:sldMkLst>
          <pc:docMk/>
          <pc:sldMk cId="2400061116" sldId="1237"/>
        </pc:sldMkLst>
        <pc:spChg chg="mod">
          <ac:chgData name="Florek, Wiktor" userId="S::wiktor.florek@accenture.com::0ca2f558-5343-4b92-8942-a4f4542ac018" providerId="AD" clId="Web-{5A9AECC7-21EF-4A1C-067C-99601DDE0612}" dt="2024-03-25T15:00:50.774" v="20" actId="20577"/>
          <ac:spMkLst>
            <pc:docMk/>
            <pc:sldMk cId="2400061116" sldId="1237"/>
            <ac:spMk id="2" creationId="{1692525E-A870-A45E-6DDE-5DA273AC6EED}"/>
          </ac:spMkLst>
        </pc:spChg>
        <pc:spChg chg="mod">
          <ac:chgData name="Florek, Wiktor" userId="S::wiktor.florek@accenture.com::0ca2f558-5343-4b92-8942-a4f4542ac018" providerId="AD" clId="Web-{5A9AECC7-21EF-4A1C-067C-99601DDE0612}" dt="2024-03-25T15:02:50.872" v="77" actId="20577"/>
          <ac:spMkLst>
            <pc:docMk/>
            <pc:sldMk cId="2400061116" sldId="1237"/>
            <ac:spMk id="8" creationId="{21B27FAC-F4D8-14FA-E816-E0F5A6718CC9}"/>
          </ac:spMkLst>
        </pc:spChg>
        <pc:spChg chg="mod">
          <ac:chgData name="Florek, Wiktor" userId="S::wiktor.florek@accenture.com::0ca2f558-5343-4b92-8942-a4f4542ac018" providerId="AD" clId="Web-{5A9AECC7-21EF-4A1C-067C-99601DDE0612}" dt="2024-03-25T15:07:25.145" v="251" actId="20577"/>
          <ac:spMkLst>
            <pc:docMk/>
            <pc:sldMk cId="2400061116" sldId="1237"/>
            <ac:spMk id="10" creationId="{6544F642-4FD7-D49B-CDFE-2E39F605B09B}"/>
          </ac:spMkLst>
        </pc:spChg>
      </pc:sldChg>
    </pc:docChg>
  </pc:docChgLst>
  <pc:docChgLst>
    <pc:chgData name="Stachowiak, Dominika" userId="S::dominika.stachowiak@accenture.com::639d990e-5485-4762-bf74-896351a523fb" providerId="AD" clId="Web-{C18A88F5-E69B-6F52-87FA-0BE63829C8C5}"/>
    <pc:docChg chg="modSld">
      <pc:chgData name="Stachowiak, Dominika" userId="S::dominika.stachowiak@accenture.com::639d990e-5485-4762-bf74-896351a523fb" providerId="AD" clId="Web-{C18A88F5-E69B-6F52-87FA-0BE63829C8C5}" dt="2024-03-25T09:03:17.742" v="3" actId="20577"/>
      <pc:docMkLst>
        <pc:docMk/>
      </pc:docMkLst>
      <pc:sldChg chg="modSp">
        <pc:chgData name="Stachowiak, Dominika" userId="S::dominika.stachowiak@accenture.com::639d990e-5485-4762-bf74-896351a523fb" providerId="AD" clId="Web-{C18A88F5-E69B-6F52-87FA-0BE63829C8C5}" dt="2024-03-25T09:03:17.742" v="3" actId="20577"/>
        <pc:sldMkLst>
          <pc:docMk/>
          <pc:sldMk cId="548016973" sldId="1334"/>
        </pc:sldMkLst>
        <pc:spChg chg="mod">
          <ac:chgData name="Stachowiak, Dominika" userId="S::dominika.stachowiak@accenture.com::639d990e-5485-4762-bf74-896351a523fb" providerId="AD" clId="Web-{C18A88F5-E69B-6F52-87FA-0BE63829C8C5}" dt="2024-03-25T09:03:17.742" v="3" actId="20577"/>
          <ac:spMkLst>
            <pc:docMk/>
            <pc:sldMk cId="548016973" sldId="1334"/>
            <ac:spMk id="8" creationId="{93E41BA6-9344-A5D1-F73E-0E4005F711C3}"/>
          </ac:spMkLst>
        </pc:spChg>
      </pc:sldChg>
    </pc:docChg>
  </pc:docChgLst>
  <pc:docChgLst>
    <pc:chgData name="Korneta, Iga" userId="S::iga.korneta@accenture.com::5bb3f265-4f39-4daa-912c-5caa86b505fb" providerId="AD" clId="Web-{D7646466-028E-5407-F718-0EB0A02103B5}"/>
    <pc:docChg chg="modSld">
      <pc:chgData name="Korneta, Iga" userId="S::iga.korneta@accenture.com::5bb3f265-4f39-4daa-912c-5caa86b505fb" providerId="AD" clId="Web-{D7646466-028E-5407-F718-0EB0A02103B5}" dt="2024-03-22T09:20:51.753" v="3" actId="20577"/>
      <pc:docMkLst>
        <pc:docMk/>
      </pc:docMkLst>
      <pc:sldChg chg="modSp">
        <pc:chgData name="Korneta, Iga" userId="S::iga.korneta@accenture.com::5bb3f265-4f39-4daa-912c-5caa86b505fb" providerId="AD" clId="Web-{D7646466-028E-5407-F718-0EB0A02103B5}" dt="2024-03-22T09:20:51.753" v="3" actId="20577"/>
        <pc:sldMkLst>
          <pc:docMk/>
          <pc:sldMk cId="282247140" sldId="1363"/>
        </pc:sldMkLst>
        <pc:spChg chg="mod">
          <ac:chgData name="Korneta, Iga" userId="S::iga.korneta@accenture.com::5bb3f265-4f39-4daa-912c-5caa86b505fb" providerId="AD" clId="Web-{D7646466-028E-5407-F718-0EB0A02103B5}" dt="2024-03-22T09:20:51.753" v="3" actId="20577"/>
          <ac:spMkLst>
            <pc:docMk/>
            <pc:sldMk cId="282247140" sldId="1363"/>
            <ac:spMk id="2" creationId="{AAB8BB9D-0FB6-62BF-E1B5-48D59B98FF35}"/>
          </ac:spMkLst>
        </pc:spChg>
      </pc:sldChg>
    </pc:docChg>
  </pc:docChgLst>
  <pc:docChgLst>
    <pc:chgData name="Hachim, Adel" userId="S::adel.hachim@accenture.com::35b68745-81ff-4c11-956b-d3a71da06ada" providerId="AD" clId="Web-{DDAC704D-27F7-EBDB-67A7-F7FCCE7C8FEA}"/>
    <pc:docChg chg="modSld">
      <pc:chgData name="Hachim, Adel" userId="S::adel.hachim@accenture.com::35b68745-81ff-4c11-956b-d3a71da06ada" providerId="AD" clId="Web-{DDAC704D-27F7-EBDB-67A7-F7FCCE7C8FEA}" dt="2024-02-26T15:21:56.359" v="476" actId="20577"/>
      <pc:docMkLst>
        <pc:docMk/>
      </pc:docMkLst>
      <pc:sldChg chg="addSp delSp modSp">
        <pc:chgData name="Hachim, Adel" userId="S::adel.hachim@accenture.com::35b68745-81ff-4c11-956b-d3a71da06ada" providerId="AD" clId="Web-{DDAC704D-27F7-EBDB-67A7-F7FCCE7C8FEA}" dt="2024-02-26T15:21:56.359" v="476" actId="20577"/>
        <pc:sldMkLst>
          <pc:docMk/>
          <pc:sldMk cId="1635322474" sldId="1367"/>
        </pc:sldMkLst>
        <pc:spChg chg="mod">
          <ac:chgData name="Hachim, Adel" userId="S::adel.hachim@accenture.com::35b68745-81ff-4c11-956b-d3a71da06ada" providerId="AD" clId="Web-{DDAC704D-27F7-EBDB-67A7-F7FCCE7C8FEA}" dt="2024-02-26T15:12:17.278" v="462" actId="20577"/>
          <ac:spMkLst>
            <pc:docMk/>
            <pc:sldMk cId="1635322474" sldId="1367"/>
            <ac:spMk id="2" creationId="{EDB7F603-43E1-138C-ED9A-D22412A54EEE}"/>
          </ac:spMkLst>
        </pc:spChg>
        <pc:spChg chg="mod">
          <ac:chgData name="Hachim, Adel" userId="S::adel.hachim@accenture.com::35b68745-81ff-4c11-956b-d3a71da06ada" providerId="AD" clId="Web-{DDAC704D-27F7-EBDB-67A7-F7FCCE7C8FEA}" dt="2024-02-26T15:21:56.359" v="476" actId="20577"/>
          <ac:spMkLst>
            <pc:docMk/>
            <pc:sldMk cId="1635322474" sldId="1367"/>
            <ac:spMk id="3" creationId="{36A93AC0-EFCE-8246-517A-FB00159973F6}"/>
          </ac:spMkLst>
        </pc:spChg>
        <pc:spChg chg="del">
          <ac:chgData name="Hachim, Adel" userId="S::adel.hachim@accenture.com::35b68745-81ff-4c11-956b-d3a71da06ada" providerId="AD" clId="Web-{DDAC704D-27F7-EBDB-67A7-F7FCCE7C8FEA}" dt="2024-02-26T12:27:46.355" v="401"/>
          <ac:spMkLst>
            <pc:docMk/>
            <pc:sldMk cId="1635322474" sldId="1367"/>
            <ac:spMk id="6" creationId="{24131F15-D875-0D4D-C0AF-7DE3681FD214}"/>
          </ac:spMkLst>
        </pc:spChg>
        <pc:spChg chg="mod">
          <ac:chgData name="Hachim, Adel" userId="S::adel.hachim@accenture.com::35b68745-81ff-4c11-956b-d3a71da06ada" providerId="AD" clId="Web-{DDAC704D-27F7-EBDB-67A7-F7FCCE7C8FEA}" dt="2024-02-26T10:19:10.703" v="233" actId="20577"/>
          <ac:spMkLst>
            <pc:docMk/>
            <pc:sldMk cId="1635322474" sldId="1367"/>
            <ac:spMk id="7" creationId="{B0DCE963-0850-98F8-A251-8D641B2D6EA0}"/>
          </ac:spMkLst>
        </pc:spChg>
        <pc:spChg chg="mod">
          <ac:chgData name="Hachim, Adel" userId="S::adel.hachim@accenture.com::35b68745-81ff-4c11-956b-d3a71da06ada" providerId="AD" clId="Web-{DDAC704D-27F7-EBDB-67A7-F7FCCE7C8FEA}" dt="2024-02-26T08:29:40.142" v="27" actId="20577"/>
          <ac:spMkLst>
            <pc:docMk/>
            <pc:sldMk cId="1635322474" sldId="1367"/>
            <ac:spMk id="8" creationId="{25AC138F-CE17-8286-7F11-15E8935E37CB}"/>
          </ac:spMkLst>
        </pc:spChg>
        <pc:spChg chg="mod">
          <ac:chgData name="Hachim, Adel" userId="S::adel.hachim@accenture.com::35b68745-81ff-4c11-956b-d3a71da06ada" providerId="AD" clId="Web-{DDAC704D-27F7-EBDB-67A7-F7FCCE7C8FEA}" dt="2024-02-26T12:28:30.746" v="406" actId="20577"/>
          <ac:spMkLst>
            <pc:docMk/>
            <pc:sldMk cId="1635322474" sldId="1367"/>
            <ac:spMk id="10" creationId="{3C5047D1-7D81-5C08-F59E-DB1DEAF16D5B}"/>
          </ac:spMkLst>
        </pc:spChg>
        <pc:picChg chg="add mod ord">
          <ac:chgData name="Hachim, Adel" userId="S::adel.hachim@accenture.com::35b68745-81ff-4c11-956b-d3a71da06ada" providerId="AD" clId="Web-{DDAC704D-27F7-EBDB-67A7-F7FCCE7C8FEA}" dt="2024-02-26T12:28:16.668" v="405" actId="1076"/>
          <ac:picMkLst>
            <pc:docMk/>
            <pc:sldMk cId="1635322474" sldId="1367"/>
            <ac:picMk id="11" creationId="{7EAD6592-6491-A778-D3DD-4AF178079B32}"/>
          </ac:picMkLst>
        </pc:picChg>
      </pc:sldChg>
    </pc:docChg>
  </pc:docChgLst>
  <pc:docChgLst>
    <pc:chgData name="Mikielewicz, Magdalena" userId="S::m.mikielewicz@accenture.com::35140045-cb91-483b-900a-2759bb1baba3" providerId="AD" clId="Web-{E551452F-9313-9732-05D6-0926C5B74BA2}"/>
    <pc:docChg chg="modSld">
      <pc:chgData name="Mikielewicz, Magdalena" userId="S::m.mikielewicz@accenture.com::35140045-cb91-483b-900a-2759bb1baba3" providerId="AD" clId="Web-{E551452F-9313-9732-05D6-0926C5B74BA2}" dt="2024-03-26T12:04:23.649" v="9" actId="20577"/>
      <pc:docMkLst>
        <pc:docMk/>
      </pc:docMkLst>
      <pc:sldChg chg="modSp">
        <pc:chgData name="Mikielewicz, Magdalena" userId="S::m.mikielewicz@accenture.com::35140045-cb91-483b-900a-2759bb1baba3" providerId="AD" clId="Web-{E551452F-9313-9732-05D6-0926C5B74BA2}" dt="2024-03-26T12:04:23.649" v="9" actId="20577"/>
        <pc:sldMkLst>
          <pc:docMk/>
          <pc:sldMk cId="1635322474" sldId="1367"/>
        </pc:sldMkLst>
        <pc:spChg chg="mod">
          <ac:chgData name="Mikielewicz, Magdalena" userId="S::m.mikielewicz@accenture.com::35140045-cb91-483b-900a-2759bb1baba3" providerId="AD" clId="Web-{E551452F-9313-9732-05D6-0926C5B74BA2}" dt="2024-03-26T11:56:19.750" v="4" actId="20577"/>
          <ac:spMkLst>
            <pc:docMk/>
            <pc:sldMk cId="1635322474" sldId="1367"/>
            <ac:spMk id="8" creationId="{25AC138F-CE17-8286-7F11-15E8935E37CB}"/>
          </ac:spMkLst>
        </pc:spChg>
        <pc:spChg chg="mod">
          <ac:chgData name="Mikielewicz, Magdalena" userId="S::m.mikielewicz@accenture.com::35140045-cb91-483b-900a-2759bb1baba3" providerId="AD" clId="Web-{E551452F-9313-9732-05D6-0926C5B74BA2}" dt="2024-03-26T12:04:23.649" v="9" actId="20577"/>
          <ac:spMkLst>
            <pc:docMk/>
            <pc:sldMk cId="1635322474" sldId="1367"/>
            <ac:spMk id="9" creationId="{4374EEA8-79AE-66DD-2654-A91F24D6993A}"/>
          </ac:spMkLst>
        </pc:spChg>
      </pc:sldChg>
    </pc:docChg>
  </pc:docChgLst>
  <pc:docChgLst>
    <pc:chgData name="Górski, Michal" userId="87ca46ae-6397-4db0-918a-167fd31314e7" providerId="ADAL" clId="{733A6DCE-FB58-4688-849A-2C581F8A27CC}"/>
    <pc:docChg chg="undo custSel modSld sldOrd">
      <pc:chgData name="Górski, Michal" userId="87ca46ae-6397-4db0-918a-167fd31314e7" providerId="ADAL" clId="{733A6DCE-FB58-4688-849A-2C581F8A27CC}" dt="2023-12-03T14:31:49.222" v="1242"/>
      <pc:docMkLst>
        <pc:docMk/>
      </pc:docMkLst>
      <pc:sldChg chg="ord">
        <pc:chgData name="Górski, Michal" userId="87ca46ae-6397-4db0-918a-167fd31314e7" providerId="ADAL" clId="{733A6DCE-FB58-4688-849A-2C581F8A27CC}" dt="2023-12-03T13:57:16.556" v="1240"/>
        <pc:sldMkLst>
          <pc:docMk/>
          <pc:sldMk cId="3953439156" sldId="1218"/>
        </pc:sldMkLst>
      </pc:sldChg>
      <pc:sldChg chg="ord">
        <pc:chgData name="Górski, Michal" userId="87ca46ae-6397-4db0-918a-167fd31314e7" providerId="ADAL" clId="{733A6DCE-FB58-4688-849A-2C581F8A27CC}" dt="2023-12-03T14:31:49.222" v="1242"/>
        <pc:sldMkLst>
          <pc:docMk/>
          <pc:sldMk cId="26861706" sldId="1251"/>
        </pc:sldMkLst>
      </pc:sldChg>
      <pc:sldChg chg="modSp mod">
        <pc:chgData name="Górski, Michal" userId="87ca46ae-6397-4db0-918a-167fd31314e7" providerId="ADAL" clId="{733A6DCE-FB58-4688-849A-2C581F8A27CC}" dt="2023-11-30T10:49:07.667" v="1238" actId="20577"/>
        <pc:sldMkLst>
          <pc:docMk/>
          <pc:sldMk cId="211902595" sldId="1342"/>
        </pc:sldMkLst>
        <pc:spChg chg="mod">
          <ac:chgData name="Górski, Michal" userId="87ca46ae-6397-4db0-918a-167fd31314e7" providerId="ADAL" clId="{733A6DCE-FB58-4688-849A-2C581F8A27CC}" dt="2023-11-30T10:32:21.393" v="704" actId="20577"/>
          <ac:spMkLst>
            <pc:docMk/>
            <pc:sldMk cId="211902595" sldId="1342"/>
            <ac:spMk id="3" creationId="{66CC37AE-8AAF-7900-9240-93D574D86204}"/>
          </ac:spMkLst>
        </pc:spChg>
        <pc:spChg chg="mod">
          <ac:chgData name="Górski, Michal" userId="87ca46ae-6397-4db0-918a-167fd31314e7" providerId="ADAL" clId="{733A6DCE-FB58-4688-849A-2C581F8A27CC}" dt="2023-11-30T10:14:03.152" v="16" actId="21"/>
          <ac:spMkLst>
            <pc:docMk/>
            <pc:sldMk cId="211902595" sldId="1342"/>
            <ac:spMk id="5" creationId="{766F8E67-1E56-9DD3-15A5-5C00632E52B7}"/>
          </ac:spMkLst>
        </pc:spChg>
        <pc:spChg chg="mod">
          <ac:chgData name="Górski, Michal" userId="87ca46ae-6397-4db0-918a-167fd31314e7" providerId="ADAL" clId="{733A6DCE-FB58-4688-849A-2C581F8A27CC}" dt="2023-11-30T10:49:07.667" v="1238" actId="20577"/>
          <ac:spMkLst>
            <pc:docMk/>
            <pc:sldMk cId="211902595" sldId="1342"/>
            <ac:spMk id="8" creationId="{21B27FAC-F4D8-14FA-E816-E0F5A6718CC9}"/>
          </ac:spMkLst>
        </pc:spChg>
        <pc:spChg chg="mod">
          <ac:chgData name="Górski, Michal" userId="87ca46ae-6397-4db0-918a-167fd31314e7" providerId="ADAL" clId="{733A6DCE-FB58-4688-849A-2C581F8A27CC}" dt="2023-11-30T10:42:25.246" v="1227" actId="20577"/>
          <ac:spMkLst>
            <pc:docMk/>
            <pc:sldMk cId="211902595" sldId="1342"/>
            <ac:spMk id="10" creationId="{6544F642-4FD7-D49B-CDFE-2E39F605B09B}"/>
          </ac:spMkLst>
        </pc:spChg>
      </pc:sldChg>
    </pc:docChg>
  </pc:docChgLst>
  <pc:docChgLst>
    <pc:chgData name="Rytter, Tomasz" userId="c701fe2b-e57e-48b5-acda-e15b2a4f02cb" providerId="ADAL" clId="{59BB2DDA-2B7B-4398-AC53-66A57EC35463}"/>
    <pc:docChg chg="modSld sldOrd">
      <pc:chgData name="Rytter, Tomasz" userId="c701fe2b-e57e-48b5-acda-e15b2a4f02cb" providerId="ADAL" clId="{59BB2DDA-2B7B-4398-AC53-66A57EC35463}" dt="2023-12-07T13:55:12.218" v="1"/>
      <pc:docMkLst>
        <pc:docMk/>
      </pc:docMkLst>
      <pc:sldChg chg="ord">
        <pc:chgData name="Rytter, Tomasz" userId="c701fe2b-e57e-48b5-acda-e15b2a4f02cb" providerId="ADAL" clId="{59BB2DDA-2B7B-4398-AC53-66A57EC35463}" dt="2023-12-07T13:55:12.218" v="1"/>
        <pc:sldMkLst>
          <pc:docMk/>
          <pc:sldMk cId="632944940" sldId="1294"/>
        </pc:sldMkLst>
      </pc:sldChg>
    </pc:docChg>
  </pc:docChgLst>
  <pc:docChgLst>
    <pc:chgData name="Papiez, Agata" userId="28a728a7-8f05-485f-b817-72ac5dddbac3" providerId="ADAL" clId="{9827679D-4B79-47FC-8C55-FE9F83E672F7}"/>
    <pc:docChg chg="undo custSel modSld">
      <pc:chgData name="Papiez, Agata" userId="28a728a7-8f05-485f-b817-72ac5dddbac3" providerId="ADAL" clId="{9827679D-4B79-47FC-8C55-FE9F83E672F7}" dt="2024-01-16T08:48:14.230" v="153" actId="27636"/>
      <pc:docMkLst>
        <pc:docMk/>
      </pc:docMkLst>
      <pc:sldChg chg="modSp mod">
        <pc:chgData name="Papiez, Agata" userId="28a728a7-8f05-485f-b817-72ac5dddbac3" providerId="ADAL" clId="{9827679D-4B79-47FC-8C55-FE9F83E672F7}" dt="2024-01-16T08:48:14.158" v="149" actId="27636"/>
        <pc:sldMkLst>
          <pc:docMk/>
          <pc:sldMk cId="1733477518" sldId="1252"/>
        </pc:sldMkLst>
        <pc:spChg chg="mod">
          <ac:chgData name="Papiez, Agata" userId="28a728a7-8f05-485f-b817-72ac5dddbac3" providerId="ADAL" clId="{9827679D-4B79-47FC-8C55-FE9F83E672F7}" dt="2024-01-16T08:48:14.158" v="149" actId="27636"/>
          <ac:spMkLst>
            <pc:docMk/>
            <pc:sldMk cId="1733477518" sldId="1252"/>
            <ac:spMk id="10" creationId="{68D47195-2257-27FD-9554-F23924FA4345}"/>
          </ac:spMkLst>
        </pc:spChg>
      </pc:sldChg>
      <pc:sldChg chg="modSp mod">
        <pc:chgData name="Papiez, Agata" userId="28a728a7-8f05-485f-b817-72ac5dddbac3" providerId="ADAL" clId="{9827679D-4B79-47FC-8C55-FE9F83E672F7}" dt="2024-01-08T11:02:22.463" v="146" actId="20577"/>
        <pc:sldMkLst>
          <pc:docMk/>
          <pc:sldMk cId="2438456068" sldId="1280"/>
        </pc:sldMkLst>
        <pc:spChg chg="mod">
          <ac:chgData name="Papiez, Agata" userId="28a728a7-8f05-485f-b817-72ac5dddbac3" providerId="ADAL" clId="{9827679D-4B79-47FC-8C55-FE9F83E672F7}" dt="2024-01-05T15:30:56.630" v="37" actId="20577"/>
          <ac:spMkLst>
            <pc:docMk/>
            <pc:sldMk cId="2438456068" sldId="1280"/>
            <ac:spMk id="2" creationId="{911674FA-AAB1-290E-AC82-CA87E6310AA5}"/>
          </ac:spMkLst>
        </pc:spChg>
        <pc:spChg chg="mod">
          <ac:chgData name="Papiez, Agata" userId="28a728a7-8f05-485f-b817-72ac5dddbac3" providerId="ADAL" clId="{9827679D-4B79-47FC-8C55-FE9F83E672F7}" dt="2024-01-05T15:31:09.804" v="39" actId="20577"/>
          <ac:spMkLst>
            <pc:docMk/>
            <pc:sldMk cId="2438456068" sldId="1280"/>
            <ac:spMk id="3" creationId="{24306D85-71DB-A43C-EE9F-A05E2C3B843E}"/>
          </ac:spMkLst>
        </pc:spChg>
        <pc:spChg chg="mod">
          <ac:chgData name="Papiez, Agata" userId="28a728a7-8f05-485f-b817-72ac5dddbac3" providerId="ADAL" clId="{9827679D-4B79-47FC-8C55-FE9F83E672F7}" dt="2024-01-08T11:02:22.463" v="146" actId="20577"/>
          <ac:spMkLst>
            <pc:docMk/>
            <pc:sldMk cId="2438456068" sldId="1280"/>
            <ac:spMk id="8" creationId="{A9D0EDE1-319C-F7C6-A99B-9FCF1CAD96E2}"/>
          </ac:spMkLst>
        </pc:spChg>
        <pc:spChg chg="mod">
          <ac:chgData name="Papiez, Agata" userId="28a728a7-8f05-485f-b817-72ac5dddbac3" providerId="ADAL" clId="{9827679D-4B79-47FC-8C55-FE9F83E672F7}" dt="2024-01-05T15:31:42.900" v="40" actId="20577"/>
          <ac:spMkLst>
            <pc:docMk/>
            <pc:sldMk cId="2438456068" sldId="1280"/>
            <ac:spMk id="9" creationId="{698ADF03-8FE6-EE63-15FA-BCDD7A6C1908}"/>
          </ac:spMkLst>
        </pc:spChg>
        <pc:spChg chg="mod">
          <ac:chgData name="Papiez, Agata" userId="28a728a7-8f05-485f-b817-72ac5dddbac3" providerId="ADAL" clId="{9827679D-4B79-47FC-8C55-FE9F83E672F7}" dt="2024-01-08T11:01:16.468" v="55" actId="20577"/>
          <ac:spMkLst>
            <pc:docMk/>
            <pc:sldMk cId="2438456068" sldId="1280"/>
            <ac:spMk id="10" creationId="{68D47195-2257-27FD-9554-F23924FA4345}"/>
          </ac:spMkLst>
        </pc:spChg>
      </pc:sldChg>
      <pc:sldChg chg="modSp mod">
        <pc:chgData name="Papiez, Agata" userId="28a728a7-8f05-485f-b817-72ac5dddbac3" providerId="ADAL" clId="{9827679D-4B79-47FC-8C55-FE9F83E672F7}" dt="2024-01-16T08:48:13.729" v="148" actId="27636"/>
        <pc:sldMkLst>
          <pc:docMk/>
          <pc:sldMk cId="3706624102" sldId="1322"/>
        </pc:sldMkLst>
        <pc:spChg chg="mod">
          <ac:chgData name="Papiez, Agata" userId="28a728a7-8f05-485f-b817-72ac5dddbac3" providerId="ADAL" clId="{9827679D-4B79-47FC-8C55-FE9F83E672F7}" dt="2024-01-16T08:48:13.729" v="148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Papiez, Agata" userId="28a728a7-8f05-485f-b817-72ac5dddbac3" providerId="ADAL" clId="{9827679D-4B79-47FC-8C55-FE9F83E672F7}" dt="2024-01-16T08:48:14.230" v="153" actId="27636"/>
        <pc:sldMkLst>
          <pc:docMk/>
          <pc:sldMk cId="3967085744" sldId="1347"/>
        </pc:sldMkLst>
        <pc:spChg chg="mod">
          <ac:chgData name="Papiez, Agata" userId="28a728a7-8f05-485f-b817-72ac5dddbac3" providerId="ADAL" clId="{9827679D-4B79-47FC-8C55-FE9F83E672F7}" dt="2024-01-16T08:48:14.225" v="152" actId="27636"/>
          <ac:spMkLst>
            <pc:docMk/>
            <pc:sldMk cId="3967085744" sldId="1347"/>
            <ac:spMk id="2" creationId="{907A6792-CD02-599B-4146-7772C73B01E3}"/>
          </ac:spMkLst>
        </pc:spChg>
        <pc:spChg chg="mod">
          <ac:chgData name="Papiez, Agata" userId="28a728a7-8f05-485f-b817-72ac5dddbac3" providerId="ADAL" clId="{9827679D-4B79-47FC-8C55-FE9F83E672F7}" dt="2024-01-16T08:48:14.230" v="153" actId="27636"/>
          <ac:spMkLst>
            <pc:docMk/>
            <pc:sldMk cId="3967085744" sldId="1347"/>
            <ac:spMk id="7" creationId="{83D1AB77-327B-D8C5-CF7B-688095FA023A}"/>
          </ac:spMkLst>
        </pc:spChg>
      </pc:sldChg>
      <pc:sldChg chg="modSp mod">
        <pc:chgData name="Papiez, Agata" userId="28a728a7-8f05-485f-b817-72ac5dddbac3" providerId="ADAL" clId="{9827679D-4B79-47FC-8C55-FE9F83E672F7}" dt="2024-01-16T08:48:14.205" v="151" actId="27636"/>
        <pc:sldMkLst>
          <pc:docMk/>
          <pc:sldMk cId="1949626962" sldId="1349"/>
        </pc:sldMkLst>
        <pc:spChg chg="mod">
          <ac:chgData name="Papiez, Agata" userId="28a728a7-8f05-485f-b817-72ac5dddbac3" providerId="ADAL" clId="{9827679D-4B79-47FC-8C55-FE9F83E672F7}" dt="2024-01-16T08:48:14.199" v="150" actId="27636"/>
          <ac:spMkLst>
            <pc:docMk/>
            <pc:sldMk cId="1949626962" sldId="1349"/>
            <ac:spMk id="2" creationId="{907A6792-CD02-599B-4146-7772C73B01E3}"/>
          </ac:spMkLst>
        </pc:spChg>
        <pc:spChg chg="mod">
          <ac:chgData name="Papiez, Agata" userId="28a728a7-8f05-485f-b817-72ac5dddbac3" providerId="ADAL" clId="{9827679D-4B79-47FC-8C55-FE9F83E672F7}" dt="2024-01-16T08:48:14.205" v="151" actId="27636"/>
          <ac:spMkLst>
            <pc:docMk/>
            <pc:sldMk cId="1949626962" sldId="1349"/>
            <ac:spMk id="8" creationId="{9CFFF608-5DCB-85A5-D2CF-77199B9A17D9}"/>
          </ac:spMkLst>
        </pc:spChg>
      </pc:sldChg>
      <pc:sldChg chg="modSp mod">
        <pc:chgData name="Papiez, Agata" userId="28a728a7-8f05-485f-b817-72ac5dddbac3" providerId="ADAL" clId="{9827679D-4B79-47FC-8C55-FE9F83E672F7}" dt="2024-01-16T08:48:13.695" v="147" actId="27636"/>
        <pc:sldMkLst>
          <pc:docMk/>
          <pc:sldMk cId="628719752" sldId="1353"/>
        </pc:sldMkLst>
        <pc:spChg chg="mod">
          <ac:chgData name="Papiez, Agata" userId="28a728a7-8f05-485f-b817-72ac5dddbac3" providerId="ADAL" clId="{9827679D-4B79-47FC-8C55-FE9F83E672F7}" dt="2024-01-16T08:48:13.695" v="147" actId="27636"/>
          <ac:spMkLst>
            <pc:docMk/>
            <pc:sldMk cId="628719752" sldId="1353"/>
            <ac:spMk id="7" creationId="{83D1AB77-327B-D8C5-CF7B-688095FA023A}"/>
          </ac:spMkLst>
        </pc:spChg>
      </pc:sldChg>
    </pc:docChg>
  </pc:docChgLst>
  <pc:docChgLst>
    <pc:chgData name="Strojewska, Magdalena" userId="S::magdalena.strojewska@accenture.com::89b3da8a-f864-4e17-a722-da71c036d456" providerId="AD" clId="Web-{E6D51616-DC21-12F8-BDDA-C872E0101699}"/>
    <pc:docChg chg="modSld">
      <pc:chgData name="Strojewska, Magdalena" userId="S::magdalena.strojewska@accenture.com::89b3da8a-f864-4e17-a722-da71c036d456" providerId="AD" clId="Web-{E6D51616-DC21-12F8-BDDA-C872E0101699}" dt="2024-03-12T14:37:46.433" v="0"/>
      <pc:docMkLst>
        <pc:docMk/>
      </pc:docMkLst>
      <pc:sldChg chg="delSp">
        <pc:chgData name="Strojewska, Magdalena" userId="S::magdalena.strojewska@accenture.com::89b3da8a-f864-4e17-a722-da71c036d456" providerId="AD" clId="Web-{E6D51616-DC21-12F8-BDDA-C872E0101699}" dt="2024-03-12T14:37:46.433" v="0"/>
        <pc:sldMkLst>
          <pc:docMk/>
          <pc:sldMk cId="2847091332" sldId="1368"/>
        </pc:sldMkLst>
        <pc:spChg chg="del">
          <ac:chgData name="Strojewska, Magdalena" userId="S::magdalena.strojewska@accenture.com::89b3da8a-f864-4e17-a722-da71c036d456" providerId="AD" clId="Web-{E6D51616-DC21-12F8-BDDA-C872E0101699}" dt="2024-03-12T14:37:46.433" v="0"/>
          <ac:spMkLst>
            <pc:docMk/>
            <pc:sldMk cId="2847091332" sldId="1368"/>
            <ac:spMk id="11" creationId="{47C8E1DC-94FF-5751-E565-BF2F7FEFBA66}"/>
          </ac:spMkLst>
        </pc:spChg>
      </pc:sldChg>
    </pc:docChg>
  </pc:docChgLst>
  <pc:docChgLst>
    <pc:chgData name="Konopka, Oleksandr" userId="S::oleksandr.konopka@accenture.com::ea0b4c78-c152-4def-917a-7ef531313d50" providerId="AD" clId="Web-{16F71C99-4527-342C-50BD-0254FD69E249}"/>
    <pc:docChg chg="modSld">
      <pc:chgData name="Konopka, Oleksandr" userId="S::oleksandr.konopka@accenture.com::ea0b4c78-c152-4def-917a-7ef531313d50" providerId="AD" clId="Web-{16F71C99-4527-342C-50BD-0254FD69E249}" dt="2023-10-18T06:33:18.068" v="133" actId="1076"/>
      <pc:docMkLst>
        <pc:docMk/>
      </pc:docMkLst>
      <pc:sldChg chg="modSp">
        <pc:chgData name="Konopka, Oleksandr" userId="S::oleksandr.konopka@accenture.com::ea0b4c78-c152-4def-917a-7ef531313d50" providerId="AD" clId="Web-{16F71C99-4527-342C-50BD-0254FD69E249}" dt="2023-10-18T06:33:18.068" v="133" actId="1076"/>
        <pc:sldMkLst>
          <pc:docMk/>
          <pc:sldMk cId="3423287306" sldId="1257"/>
        </pc:sldMkLst>
        <pc:spChg chg="mod">
          <ac:chgData name="Konopka, Oleksandr" userId="S::oleksandr.konopka@accenture.com::ea0b4c78-c152-4def-917a-7ef531313d50" providerId="AD" clId="Web-{16F71C99-4527-342C-50BD-0254FD69E249}" dt="2023-10-18T06:32:43.910" v="120" actId="20577"/>
          <ac:spMkLst>
            <pc:docMk/>
            <pc:sldMk cId="3423287306" sldId="1257"/>
            <ac:spMk id="2" creationId="{911674FA-AAB1-290E-AC82-CA87E6310AA5}"/>
          </ac:spMkLst>
        </pc:spChg>
        <pc:spChg chg="mod">
          <ac:chgData name="Konopka, Oleksandr" userId="S::oleksandr.konopka@accenture.com::ea0b4c78-c152-4def-917a-7ef531313d50" providerId="AD" clId="Web-{16F71C99-4527-342C-50BD-0254FD69E249}" dt="2023-10-18T06:33:18.068" v="133" actId="1076"/>
          <ac:spMkLst>
            <pc:docMk/>
            <pc:sldMk cId="3423287306" sldId="1257"/>
            <ac:spMk id="3" creationId="{24306D85-71DB-A43C-EE9F-A05E2C3B843E}"/>
          </ac:spMkLst>
        </pc:spChg>
        <pc:spChg chg="mod">
          <ac:chgData name="Konopka, Oleksandr" userId="S::oleksandr.konopka@accenture.com::ea0b4c78-c152-4def-917a-7ef531313d50" providerId="AD" clId="Web-{16F71C99-4527-342C-50BD-0254FD69E249}" dt="2023-10-17T21:23:28.703" v="117" actId="20577"/>
          <ac:spMkLst>
            <pc:docMk/>
            <pc:sldMk cId="3423287306" sldId="1257"/>
            <ac:spMk id="8" creationId="{A9D0EDE1-319C-F7C6-A99B-9FCF1CAD96E2}"/>
          </ac:spMkLst>
        </pc:spChg>
        <pc:spChg chg="mod">
          <ac:chgData name="Konopka, Oleksandr" userId="S::oleksandr.konopka@accenture.com::ea0b4c78-c152-4def-917a-7ef531313d50" providerId="AD" clId="Web-{16F71C99-4527-342C-50BD-0254FD69E249}" dt="2023-10-17T21:23:34.813" v="118" actId="20577"/>
          <ac:spMkLst>
            <pc:docMk/>
            <pc:sldMk cId="3423287306" sldId="1257"/>
            <ac:spMk id="10" creationId="{68D47195-2257-27FD-9554-F23924FA4345}"/>
          </ac:spMkLst>
        </pc:spChg>
      </pc:sldChg>
    </pc:docChg>
  </pc:docChgLst>
  <pc:docChgLst>
    <pc:chgData name="Kwarciany, Marcin" userId="0ea283b4-f273-43bb-a2bf-f35854715142" providerId="ADAL" clId="{FC0D648E-FCB2-4D66-8CD6-D460687FF862}"/>
    <pc:docChg chg="addSld delSld modSld modSection">
      <pc:chgData name="Kwarciany, Marcin" userId="0ea283b4-f273-43bb-a2bf-f35854715142" providerId="ADAL" clId="{FC0D648E-FCB2-4D66-8CD6-D460687FF862}" dt="2024-01-10T14:55:31.339" v="82"/>
      <pc:docMkLst>
        <pc:docMk/>
      </pc:docMkLst>
      <pc:sldChg chg="modSp add del mod">
        <pc:chgData name="Kwarciany, Marcin" userId="0ea283b4-f273-43bb-a2bf-f35854715142" providerId="ADAL" clId="{FC0D648E-FCB2-4D66-8CD6-D460687FF862}" dt="2024-01-10T14:55:31.339" v="82"/>
        <pc:sldMkLst>
          <pc:docMk/>
          <pc:sldMk cId="166479993" sldId="1263"/>
        </pc:sldMkLst>
        <pc:spChg chg="mod">
          <ac:chgData name="Kwarciany, Marcin" userId="0ea283b4-f273-43bb-a2bf-f35854715142" providerId="ADAL" clId="{FC0D648E-FCB2-4D66-8CD6-D460687FF862}" dt="2024-01-05T10:01:02.936" v="80" actId="20577"/>
          <ac:spMkLst>
            <pc:docMk/>
            <pc:sldMk cId="166479993" sldId="1263"/>
            <ac:spMk id="8" creationId="{A9D0EDE1-319C-F7C6-A99B-9FCF1CAD96E2}"/>
          </ac:spMkLst>
        </pc:spChg>
      </pc:sldChg>
    </pc:docChg>
  </pc:docChgLst>
  <pc:docChgLst>
    <pc:chgData name="Hachim, Adel" userId="S::adel.hachim@accenture.com::35b68745-81ff-4c11-956b-d3a71da06ada" providerId="AD" clId="Web-{4E9D0AB8-B423-C712-34E7-CB851F9AFFA4}"/>
    <pc:docChg chg="modSld">
      <pc:chgData name="Hachim, Adel" userId="S::adel.hachim@accenture.com::35b68745-81ff-4c11-956b-d3a71da06ada" providerId="AD" clId="Web-{4E9D0AB8-B423-C712-34E7-CB851F9AFFA4}" dt="2024-03-28T11:57:43.285" v="5" actId="20577"/>
      <pc:docMkLst>
        <pc:docMk/>
      </pc:docMkLst>
      <pc:sldChg chg="modSp">
        <pc:chgData name="Hachim, Adel" userId="S::adel.hachim@accenture.com::35b68745-81ff-4c11-956b-d3a71da06ada" providerId="AD" clId="Web-{4E9D0AB8-B423-C712-34E7-CB851F9AFFA4}" dt="2024-03-28T11:57:43.285" v="5" actId="20577"/>
        <pc:sldMkLst>
          <pc:docMk/>
          <pc:sldMk cId="3110582467" sldId="1348"/>
        </pc:sldMkLst>
        <pc:spChg chg="mod">
          <ac:chgData name="Hachim, Adel" userId="S::adel.hachim@accenture.com::35b68745-81ff-4c11-956b-d3a71da06ada" providerId="AD" clId="Web-{4E9D0AB8-B423-C712-34E7-CB851F9AFFA4}" dt="2024-03-28T11:57:43.285" v="5" actId="20577"/>
          <ac:spMkLst>
            <pc:docMk/>
            <pc:sldMk cId="3110582467" sldId="1348"/>
            <ac:spMk id="10" creationId="{7F4538DC-45FB-A8B8-9BDE-A8EA913481D9}"/>
          </ac:spMkLst>
        </pc:spChg>
      </pc:sldChg>
    </pc:docChg>
  </pc:docChgLst>
  <pc:docChgLst>
    <pc:chgData name="Walo, Waldemar" userId="e8298971-bfde-4c68-9aeb-c92007efa38f" providerId="ADAL" clId="{FAAF7D00-6694-4236-A1BB-2EC073600896}"/>
    <pc:docChg chg="addSld delSld modSld modSection">
      <pc:chgData name="Walo, Waldemar" userId="e8298971-bfde-4c68-9aeb-c92007efa38f" providerId="ADAL" clId="{FAAF7D00-6694-4236-A1BB-2EC073600896}" dt="2023-10-30T11:59:43.169" v="7" actId="20577"/>
      <pc:docMkLst>
        <pc:docMk/>
      </pc:docMkLst>
      <pc:sldChg chg="del">
        <pc:chgData name="Walo, Waldemar" userId="e8298971-bfde-4c68-9aeb-c92007efa38f" providerId="ADAL" clId="{FAAF7D00-6694-4236-A1BB-2EC073600896}" dt="2023-10-30T11:59:38.468" v="1" actId="47"/>
        <pc:sldMkLst>
          <pc:docMk/>
          <pc:sldMk cId="1180456054" sldId="1349"/>
        </pc:sldMkLst>
      </pc:sldChg>
      <pc:sldChg chg="add modNotesTx">
        <pc:chgData name="Walo, Waldemar" userId="e8298971-bfde-4c68-9aeb-c92007efa38f" providerId="ADAL" clId="{FAAF7D00-6694-4236-A1BB-2EC073600896}" dt="2023-10-30T11:59:43.169" v="7" actId="20577"/>
        <pc:sldMkLst>
          <pc:docMk/>
          <pc:sldMk cId="4110471149" sldId="1354"/>
        </pc:sldMkLst>
      </pc:sldChg>
    </pc:docChg>
  </pc:docChgLst>
  <pc:docChgLst>
    <pc:chgData name="Grazka, Piotr" userId="S::piotr.grazka@accenture.com::0dc45191-aea6-4c58-8c22-c2b0effb7cec" providerId="AD" clId="Web-{F21C7971-5B2F-9A00-C138-C5C2C4BD8C67}"/>
    <pc:docChg chg="modSld">
      <pc:chgData name="Grazka, Piotr" userId="S::piotr.grazka@accenture.com::0dc45191-aea6-4c58-8c22-c2b0effb7cec" providerId="AD" clId="Web-{F21C7971-5B2F-9A00-C138-C5C2C4BD8C67}" dt="2023-12-12T07:26:29.117" v="47" actId="20577"/>
      <pc:docMkLst>
        <pc:docMk/>
      </pc:docMkLst>
      <pc:sldChg chg="modSp">
        <pc:chgData name="Grazka, Piotr" userId="S::piotr.grazka@accenture.com::0dc45191-aea6-4c58-8c22-c2b0effb7cec" providerId="AD" clId="Web-{F21C7971-5B2F-9A00-C138-C5C2C4BD8C67}" dt="2023-12-12T07:26:29.117" v="47" actId="20577"/>
        <pc:sldMkLst>
          <pc:docMk/>
          <pc:sldMk cId="1683928403" sldId="1324"/>
        </pc:sldMkLst>
        <pc:spChg chg="mod">
          <ac:chgData name="Grazka, Piotr" userId="S::piotr.grazka@accenture.com::0dc45191-aea6-4c58-8c22-c2b0effb7cec" providerId="AD" clId="Web-{F21C7971-5B2F-9A00-C138-C5C2C4BD8C67}" dt="2023-12-12T07:26:29.117" v="47" actId="20577"/>
          <ac:spMkLst>
            <pc:docMk/>
            <pc:sldMk cId="1683928403" sldId="1324"/>
            <ac:spMk id="10" creationId="{68D47195-2257-27FD-9554-F23924FA4345}"/>
          </ac:spMkLst>
        </pc:spChg>
      </pc:sldChg>
    </pc:docChg>
  </pc:docChgLst>
  <pc:docChgLst>
    <pc:chgData name="Jach, Agnieszka" userId="366b1e26-79c5-4729-9a9f-9e1f21bd2899" providerId="ADAL" clId="{89182409-D1EF-427D-B8F2-DA4D9AF1AD44}"/>
    <pc:docChg chg="custSel modSld">
      <pc:chgData name="Jach, Agnieszka" userId="366b1e26-79c5-4729-9a9f-9e1f21bd2899" providerId="ADAL" clId="{89182409-D1EF-427D-B8F2-DA4D9AF1AD44}" dt="2023-11-30T14:46:04.216" v="242" actId="313"/>
      <pc:docMkLst>
        <pc:docMk/>
      </pc:docMkLst>
      <pc:sldChg chg="modSp mod">
        <pc:chgData name="Jach, Agnieszka" userId="366b1e26-79c5-4729-9a9f-9e1f21bd2899" providerId="ADAL" clId="{89182409-D1EF-427D-B8F2-DA4D9AF1AD44}" dt="2023-11-30T14:46:04.216" v="242" actId="313"/>
        <pc:sldMkLst>
          <pc:docMk/>
          <pc:sldMk cId="2718533031" sldId="1244"/>
        </pc:sldMkLst>
        <pc:spChg chg="mod">
          <ac:chgData name="Jach, Agnieszka" userId="366b1e26-79c5-4729-9a9f-9e1f21bd2899" providerId="ADAL" clId="{89182409-D1EF-427D-B8F2-DA4D9AF1AD44}" dt="2023-11-30T14:46:04.216" v="242" actId="313"/>
          <ac:spMkLst>
            <pc:docMk/>
            <pc:sldMk cId="2718533031" sldId="1244"/>
            <ac:spMk id="8" creationId="{8890A3A4-B53A-2281-2F0C-43763D8F3D41}"/>
          </ac:spMkLst>
        </pc:spChg>
      </pc:sldChg>
      <pc:sldChg chg="modSp mod">
        <pc:chgData name="Jach, Agnieszka" userId="366b1e26-79c5-4729-9a9f-9e1f21bd2899" providerId="ADAL" clId="{89182409-D1EF-427D-B8F2-DA4D9AF1AD44}" dt="2023-11-30T13:05:42.969" v="241" actId="1038"/>
        <pc:sldMkLst>
          <pc:docMk/>
          <pc:sldMk cId="1389653122" sldId="1249"/>
        </pc:sldMkLst>
        <pc:spChg chg="mod">
          <ac:chgData name="Jach, Agnieszka" userId="366b1e26-79c5-4729-9a9f-9e1f21bd2899" providerId="ADAL" clId="{89182409-D1EF-427D-B8F2-DA4D9AF1AD44}" dt="2023-11-30T13:05:42.969" v="241" actId="1038"/>
          <ac:spMkLst>
            <pc:docMk/>
            <pc:sldMk cId="1389653122" sldId="1249"/>
            <ac:spMk id="2" creationId="{911674FA-AAB1-290E-AC82-CA87E6310AA5}"/>
          </ac:spMkLst>
        </pc:spChg>
        <pc:spChg chg="mod">
          <ac:chgData name="Jach, Agnieszka" userId="366b1e26-79c5-4729-9a9f-9e1f21bd2899" providerId="ADAL" clId="{89182409-D1EF-427D-B8F2-DA4D9AF1AD44}" dt="2023-11-30T13:00:13.971" v="221" actId="20577"/>
          <ac:spMkLst>
            <pc:docMk/>
            <pc:sldMk cId="1389653122" sldId="1249"/>
            <ac:spMk id="10" creationId="{68D47195-2257-27FD-9554-F23924FA4345}"/>
          </ac:spMkLst>
        </pc:spChg>
      </pc:sldChg>
    </pc:docChg>
  </pc:docChgLst>
  <pc:docChgLst>
    <pc:chgData name="Sawczuk, Igor" userId="S::igor.sawczuk@accenture.com::957d03ad-c459-424c-a8a4-76b13eb3b854" providerId="AD" clId="Web-{6F350F25-DF89-230B-FD11-10AC3165A0F4}"/>
    <pc:docChg chg="addSld delSld modSld sldOrd modSection">
      <pc:chgData name="Sawczuk, Igor" userId="S::igor.sawczuk@accenture.com::957d03ad-c459-424c-a8a4-76b13eb3b854" providerId="AD" clId="Web-{6F350F25-DF89-230B-FD11-10AC3165A0F4}" dt="2023-12-21T08:13:42.546" v="7"/>
      <pc:docMkLst>
        <pc:docMk/>
      </pc:docMkLst>
      <pc:sldChg chg="addSp delSp modSp">
        <pc:chgData name="Sawczuk, Igor" userId="S::igor.sawczuk@accenture.com::957d03ad-c459-424c-a8a4-76b13eb3b854" providerId="AD" clId="Web-{6F350F25-DF89-230B-FD11-10AC3165A0F4}" dt="2023-12-21T08:13:13.248" v="3"/>
        <pc:sldMkLst>
          <pc:docMk/>
          <pc:sldMk cId="3025264660" sldId="1292"/>
        </pc:sldMkLst>
        <pc:spChg chg="add del mod">
          <ac:chgData name="Sawczuk, Igor" userId="S::igor.sawczuk@accenture.com::957d03ad-c459-424c-a8a4-76b13eb3b854" providerId="AD" clId="Web-{6F350F25-DF89-230B-FD11-10AC3165A0F4}" dt="2023-12-21T08:13:13.248" v="3"/>
          <ac:spMkLst>
            <pc:docMk/>
            <pc:sldMk cId="3025264660" sldId="1292"/>
            <ac:spMk id="6" creationId="{6B45818E-E63C-11FA-F96A-8E42A1594185}"/>
          </ac:spMkLst>
        </pc:spChg>
      </pc:sldChg>
      <pc:sldChg chg="new del">
        <pc:chgData name="Sawczuk, Igor" userId="S::igor.sawczuk@accenture.com::957d03ad-c459-424c-a8a4-76b13eb3b854" providerId="AD" clId="Web-{6F350F25-DF89-230B-FD11-10AC3165A0F4}" dt="2023-12-21T08:13:36.015" v="6"/>
        <pc:sldMkLst>
          <pc:docMk/>
          <pc:sldMk cId="3970716606" sldId="1358"/>
        </pc:sldMkLst>
      </pc:sldChg>
      <pc:sldChg chg="add ord">
        <pc:chgData name="Sawczuk, Igor" userId="S::igor.sawczuk@accenture.com::957d03ad-c459-424c-a8a4-76b13eb3b854" providerId="AD" clId="Web-{6F350F25-DF89-230B-FD11-10AC3165A0F4}" dt="2023-12-21T08:13:42.546" v="7"/>
        <pc:sldMkLst>
          <pc:docMk/>
          <pc:sldMk cId="1736233114" sldId="1359"/>
        </pc:sldMkLst>
      </pc:sldChg>
    </pc:docChg>
  </pc:docChgLst>
  <pc:docChgLst>
    <pc:chgData name="Górski, Adam" userId="S::adam.gorski@accenture.com::ef48f5a5-9a98-4e41-9c63-9fdf5cc81b73" providerId="AD" clId="Web-{32DEDFA5-FCD7-E586-7CF2-43D3AE2039EE}"/>
    <pc:docChg chg="sldOrd">
      <pc:chgData name="Górski, Adam" userId="S::adam.gorski@accenture.com::ef48f5a5-9a98-4e41-9c63-9fdf5cc81b73" providerId="AD" clId="Web-{32DEDFA5-FCD7-E586-7CF2-43D3AE2039EE}" dt="2024-02-02T12:53:32.922" v="0"/>
      <pc:docMkLst>
        <pc:docMk/>
      </pc:docMkLst>
      <pc:sldChg chg="ord">
        <pc:chgData name="Górski, Adam" userId="S::adam.gorski@accenture.com::ef48f5a5-9a98-4e41-9c63-9fdf5cc81b73" providerId="AD" clId="Web-{32DEDFA5-FCD7-E586-7CF2-43D3AE2039EE}" dt="2024-02-02T12:53:32.922" v="0"/>
        <pc:sldMkLst>
          <pc:docMk/>
          <pc:sldMk cId="2824053554" sldId="1316"/>
        </pc:sldMkLst>
      </pc:sldChg>
    </pc:docChg>
  </pc:docChgLst>
  <pc:docChgLst>
    <pc:chgData name="Gortych, Damian" userId="S::damian.gortych@accenture.com::b8f47322-7dd0-4de6-893a-0dd5c843a08f" providerId="AD" clId="Web-{EC132578-D15E-4F55-A195-0384C83EFF46}"/>
    <pc:docChg chg="modSld">
      <pc:chgData name="Gortych, Damian" userId="S::damian.gortych@accenture.com::b8f47322-7dd0-4de6-893a-0dd5c843a08f" providerId="AD" clId="Web-{EC132578-D15E-4F55-A195-0384C83EFF46}" dt="2024-03-06T16:10:28.705" v="55" actId="20577"/>
      <pc:docMkLst>
        <pc:docMk/>
      </pc:docMkLst>
      <pc:sldChg chg="modSp">
        <pc:chgData name="Gortych, Damian" userId="S::damian.gortych@accenture.com::b8f47322-7dd0-4de6-893a-0dd5c843a08f" providerId="AD" clId="Web-{EC132578-D15E-4F55-A195-0384C83EFF46}" dt="2024-03-06T16:10:28.705" v="55" actId="20577"/>
        <pc:sldMkLst>
          <pc:docMk/>
          <pc:sldMk cId="2847091332" sldId="1368"/>
        </pc:sldMkLst>
        <pc:spChg chg="mod">
          <ac:chgData name="Gortych, Damian" userId="S::damian.gortych@accenture.com::b8f47322-7dd0-4de6-893a-0dd5c843a08f" providerId="AD" clId="Web-{EC132578-D15E-4F55-A195-0384C83EFF46}" dt="2024-03-06T16:01:25.529" v="15" actId="20577"/>
          <ac:spMkLst>
            <pc:docMk/>
            <pc:sldMk cId="2847091332" sldId="1368"/>
            <ac:spMk id="2" creationId="{B1B30B32-CD37-0E04-C6E3-83A31BB57983}"/>
          </ac:spMkLst>
        </pc:spChg>
        <pc:spChg chg="mod">
          <ac:chgData name="Gortych, Damian" userId="S::damian.gortych@accenture.com::b8f47322-7dd0-4de6-893a-0dd5c843a08f" providerId="AD" clId="Web-{EC132578-D15E-4F55-A195-0384C83EFF46}" dt="2024-03-06T16:10:28.705" v="55" actId="20577"/>
          <ac:spMkLst>
            <pc:docMk/>
            <pc:sldMk cId="2847091332" sldId="1368"/>
            <ac:spMk id="3" creationId="{6EB5865F-1DB2-9704-D13D-FFBC0190B5DD}"/>
          </ac:spMkLst>
        </pc:spChg>
        <pc:spChg chg="mod">
          <ac:chgData name="Gortych, Damian" userId="S::damian.gortych@accenture.com::b8f47322-7dd0-4de6-893a-0dd5c843a08f" providerId="AD" clId="Web-{EC132578-D15E-4F55-A195-0384C83EFF46}" dt="2024-03-06T16:05:32.288" v="25" actId="20577"/>
          <ac:spMkLst>
            <pc:docMk/>
            <pc:sldMk cId="2847091332" sldId="1368"/>
            <ac:spMk id="4" creationId="{DEFFC2F2-5427-A189-98F7-A9DFC128D02B}"/>
          </ac:spMkLst>
        </pc:spChg>
        <pc:spChg chg="mod">
          <ac:chgData name="Gortych, Damian" userId="S::damian.gortych@accenture.com::b8f47322-7dd0-4de6-893a-0dd5c843a08f" providerId="AD" clId="Web-{EC132578-D15E-4F55-A195-0384C83EFF46}" dt="2024-03-06T16:05:46.695" v="27" actId="20577"/>
          <ac:spMkLst>
            <pc:docMk/>
            <pc:sldMk cId="2847091332" sldId="1368"/>
            <ac:spMk id="5" creationId="{AAE3F712-037F-0BA0-2718-D2983F733C4B}"/>
          </ac:spMkLst>
        </pc:spChg>
        <pc:spChg chg="mod">
          <ac:chgData name="Gortych, Damian" userId="S::damian.gortych@accenture.com::b8f47322-7dd0-4de6-893a-0dd5c843a08f" providerId="AD" clId="Web-{EC132578-D15E-4F55-A195-0384C83EFF46}" dt="2024-03-06T16:03:24.393" v="20" actId="20577"/>
          <ac:spMkLst>
            <pc:docMk/>
            <pc:sldMk cId="2847091332" sldId="1368"/>
            <ac:spMk id="7" creationId="{B4F12F25-F5B8-1D4F-D9E8-1A52C10C0EA3}"/>
          </ac:spMkLst>
        </pc:spChg>
        <pc:spChg chg="mod">
          <ac:chgData name="Gortych, Damian" userId="S::damian.gortych@accenture.com::b8f47322-7dd0-4de6-893a-0dd5c843a08f" providerId="AD" clId="Web-{EC132578-D15E-4F55-A195-0384C83EFF46}" dt="2024-03-06T16:02:32.782" v="19" actId="20577"/>
          <ac:spMkLst>
            <pc:docMk/>
            <pc:sldMk cId="2847091332" sldId="1368"/>
            <ac:spMk id="8" creationId="{37C82AA2-F4DC-10F4-AB52-8FC1F24EB6E2}"/>
          </ac:spMkLst>
        </pc:spChg>
        <pc:spChg chg="mod">
          <ac:chgData name="Gortych, Damian" userId="S::damian.gortych@accenture.com::b8f47322-7dd0-4de6-893a-0dd5c843a08f" providerId="AD" clId="Web-{EC132578-D15E-4F55-A195-0384C83EFF46}" dt="2024-03-06T16:06:05.820" v="29" actId="20577"/>
          <ac:spMkLst>
            <pc:docMk/>
            <pc:sldMk cId="2847091332" sldId="1368"/>
            <ac:spMk id="9" creationId="{605FC3C9-21B3-EDFB-AB33-A2F0BE5F4BF0}"/>
          </ac:spMkLst>
        </pc:spChg>
        <pc:spChg chg="mod">
          <ac:chgData name="Gortych, Damian" userId="S::damian.gortych@accenture.com::b8f47322-7dd0-4de6-893a-0dd5c843a08f" providerId="AD" clId="Web-{EC132578-D15E-4F55-A195-0384C83EFF46}" dt="2024-03-06T16:01:49.124" v="16" actId="20577"/>
          <ac:spMkLst>
            <pc:docMk/>
            <pc:sldMk cId="2847091332" sldId="1368"/>
            <ac:spMk id="10" creationId="{92312F48-4315-33D6-19FE-C7D670F14066}"/>
          </ac:spMkLst>
        </pc:spChg>
        <pc:spChg chg="mod">
          <ac:chgData name="Gortych, Damian" userId="S::damian.gortych@accenture.com::b8f47322-7dd0-4de6-893a-0dd5c843a08f" providerId="AD" clId="Web-{EC132578-D15E-4F55-A195-0384C83EFF46}" dt="2024-03-06T16:04:23.785" v="22" actId="20577"/>
          <ac:spMkLst>
            <pc:docMk/>
            <pc:sldMk cId="2847091332" sldId="1368"/>
            <ac:spMk id="11" creationId="{47C8E1DC-94FF-5751-E565-BF2F7FEFBA66}"/>
          </ac:spMkLst>
        </pc:spChg>
      </pc:sldChg>
    </pc:docChg>
  </pc:docChgLst>
  <pc:docChgLst>
    <pc:chgData name="Les, Michal" userId="S::michal.les@accenture.com::3ee9775d-ee9c-4cf4-aa28-4f2018cc7424" providerId="AD" clId="Web-{FEF66F14-08E0-7D9C-21E0-FC298350B7BA}"/>
    <pc:docChg chg="modSld">
      <pc:chgData name="Les, Michal" userId="S::michal.les@accenture.com::3ee9775d-ee9c-4cf4-aa28-4f2018cc7424" providerId="AD" clId="Web-{FEF66F14-08E0-7D9C-21E0-FC298350B7BA}" dt="2023-12-14T11:30:48.334" v="29" actId="1076"/>
      <pc:docMkLst>
        <pc:docMk/>
      </pc:docMkLst>
      <pc:sldChg chg="addSp delSp modSp">
        <pc:chgData name="Les, Michal" userId="S::michal.les@accenture.com::3ee9775d-ee9c-4cf4-aa28-4f2018cc7424" providerId="AD" clId="Web-{FEF66F14-08E0-7D9C-21E0-FC298350B7BA}" dt="2023-12-14T11:30:48.334" v="29" actId="1076"/>
        <pc:sldMkLst>
          <pc:docMk/>
          <pc:sldMk cId="593098658" sldId="1340"/>
        </pc:sldMkLst>
        <pc:spChg chg="add del mod">
          <ac:chgData name="Les, Michal" userId="S::michal.les@accenture.com::3ee9775d-ee9c-4cf4-aa28-4f2018cc7424" providerId="AD" clId="Web-{FEF66F14-08E0-7D9C-21E0-FC298350B7BA}" dt="2023-12-14T11:29:23.894" v="17"/>
          <ac:spMkLst>
            <pc:docMk/>
            <pc:sldMk cId="593098658" sldId="1340"/>
            <ac:spMk id="13" creationId="{4D951891-C6D1-4C52-C4E4-0F474FBFF84A}"/>
          </ac:spMkLst>
        </pc:spChg>
        <pc:spChg chg="add del mod">
          <ac:chgData name="Les, Michal" userId="S::michal.les@accenture.com::3ee9775d-ee9c-4cf4-aa28-4f2018cc7424" providerId="AD" clId="Web-{FEF66F14-08E0-7D9C-21E0-FC298350B7BA}" dt="2023-12-14T11:29:58.333" v="25"/>
          <ac:spMkLst>
            <pc:docMk/>
            <pc:sldMk cId="593098658" sldId="1340"/>
            <ac:spMk id="16" creationId="{FC019620-7CA8-C217-B7BB-FFA7A401E827}"/>
          </ac:spMkLst>
        </pc:spChg>
        <pc:picChg chg="add del mod modCrop">
          <ac:chgData name="Les, Michal" userId="S::michal.les@accenture.com::3ee9775d-ee9c-4cf4-aa28-4f2018cc7424" providerId="AD" clId="Web-{FEF66F14-08E0-7D9C-21E0-FC298350B7BA}" dt="2023-12-14T11:30:04.349" v="26"/>
          <ac:picMkLst>
            <pc:docMk/>
            <pc:sldMk cId="593098658" sldId="1340"/>
            <ac:picMk id="11" creationId="{A46D20FE-6B59-D0AD-A0A6-CBCC3CDB035B}"/>
          </ac:picMkLst>
        </pc:picChg>
        <pc:picChg chg="add del mod">
          <ac:chgData name="Les, Michal" userId="S::michal.les@accenture.com::3ee9775d-ee9c-4cf4-aa28-4f2018cc7424" providerId="AD" clId="Web-{FEF66F14-08E0-7D9C-21E0-FC298350B7BA}" dt="2023-12-14T11:29:48.270" v="23"/>
          <ac:picMkLst>
            <pc:docMk/>
            <pc:sldMk cId="593098658" sldId="1340"/>
            <ac:picMk id="14" creationId="{2CAC3284-6743-EEE3-F3B2-F34EBF8D8DFF}"/>
          </ac:picMkLst>
        </pc:picChg>
        <pc:picChg chg="add mod ord">
          <ac:chgData name="Les, Michal" userId="S::michal.les@accenture.com::3ee9775d-ee9c-4cf4-aa28-4f2018cc7424" providerId="AD" clId="Web-{FEF66F14-08E0-7D9C-21E0-FC298350B7BA}" dt="2023-12-14T11:30:48.334" v="29" actId="1076"/>
          <ac:picMkLst>
            <pc:docMk/>
            <pc:sldMk cId="593098658" sldId="1340"/>
            <ac:picMk id="17" creationId="{B5E68965-8C55-7893-7BA6-6E5D9C11E5B4}"/>
          </ac:picMkLst>
        </pc:picChg>
      </pc:sldChg>
    </pc:docChg>
  </pc:docChgLst>
  <pc:docChgLst>
    <pc:chgData name="Korneta, Iga" userId="S::iga.korneta@accenture.com::5bb3f265-4f39-4daa-912c-5caa86b505fb" providerId="AD" clId="Web-{C4E9365B-11A5-99D7-D4FD-DF17D23F72D9}"/>
    <pc:docChg chg="modSld sldOrd">
      <pc:chgData name="Korneta, Iga" userId="S::iga.korneta@accenture.com::5bb3f265-4f39-4daa-912c-5caa86b505fb" providerId="AD" clId="Web-{C4E9365B-11A5-99D7-D4FD-DF17D23F72D9}" dt="2024-03-29T11:38:31.184" v="8"/>
      <pc:docMkLst>
        <pc:docMk/>
      </pc:docMkLst>
      <pc:sldChg chg="ord">
        <pc:chgData name="Korneta, Iga" userId="S::iga.korneta@accenture.com::5bb3f265-4f39-4daa-912c-5caa86b505fb" providerId="AD" clId="Web-{C4E9365B-11A5-99D7-D4FD-DF17D23F72D9}" dt="2024-03-29T11:22:42.463" v="1"/>
        <pc:sldMkLst>
          <pc:docMk/>
          <pc:sldMk cId="2670694553" sldId="1236"/>
        </pc:sldMkLst>
      </pc:sldChg>
      <pc:sldChg chg="modSp">
        <pc:chgData name="Korneta, Iga" userId="S::iga.korneta@accenture.com::5bb3f265-4f39-4daa-912c-5caa86b505fb" providerId="AD" clId="Web-{C4E9365B-11A5-99D7-D4FD-DF17D23F72D9}" dt="2024-03-29T11:16:32.331" v="0"/>
        <pc:sldMkLst>
          <pc:docMk/>
          <pc:sldMk cId="2586587400" sldId="1238"/>
        </pc:sldMkLst>
        <pc:spChg chg="mod">
          <ac:chgData name="Korneta, Iga" userId="S::iga.korneta@accenture.com::5bb3f265-4f39-4daa-912c-5caa86b505fb" providerId="AD" clId="Web-{C4E9365B-11A5-99D7-D4FD-DF17D23F72D9}" dt="2024-03-29T11:16:32.331" v="0"/>
          <ac:spMkLst>
            <pc:docMk/>
            <pc:sldMk cId="2586587400" sldId="1238"/>
            <ac:spMk id="5" creationId="{766F8E67-1E56-9DD3-15A5-5C00632E52B7}"/>
          </ac:spMkLst>
        </pc:spChg>
      </pc:sldChg>
      <pc:sldChg chg="ord">
        <pc:chgData name="Korneta, Iga" userId="S::iga.korneta@accenture.com::5bb3f265-4f39-4daa-912c-5caa86b505fb" providerId="AD" clId="Web-{C4E9365B-11A5-99D7-D4FD-DF17D23F72D9}" dt="2024-03-29T11:25:12.263" v="2"/>
        <pc:sldMkLst>
          <pc:docMk/>
          <pc:sldMk cId="2718533031" sldId="1244"/>
        </pc:sldMkLst>
      </pc:sldChg>
      <pc:sldChg chg="ord">
        <pc:chgData name="Korneta, Iga" userId="S::iga.korneta@accenture.com::5bb3f265-4f39-4daa-912c-5caa86b505fb" providerId="AD" clId="Web-{C4E9365B-11A5-99D7-D4FD-DF17D23F72D9}" dt="2024-03-29T11:26:10.998" v="3"/>
        <pc:sldMkLst>
          <pc:docMk/>
          <pc:sldMk cId="2337435278" sldId="1248"/>
        </pc:sldMkLst>
      </pc:sldChg>
      <pc:sldChg chg="ord">
        <pc:chgData name="Korneta, Iga" userId="S::iga.korneta@accenture.com::5bb3f265-4f39-4daa-912c-5caa86b505fb" providerId="AD" clId="Web-{C4E9365B-11A5-99D7-D4FD-DF17D23F72D9}" dt="2024-03-29T11:36:32.932" v="7"/>
        <pc:sldMkLst>
          <pc:docMk/>
          <pc:sldMk cId="3752201324" sldId="1295"/>
        </pc:sldMkLst>
      </pc:sldChg>
      <pc:sldChg chg="ord">
        <pc:chgData name="Korneta, Iga" userId="S::iga.korneta@accenture.com::5bb3f265-4f39-4daa-912c-5caa86b505fb" providerId="AD" clId="Web-{C4E9365B-11A5-99D7-D4FD-DF17D23F72D9}" dt="2024-03-29T11:38:31.184" v="8"/>
        <pc:sldMkLst>
          <pc:docMk/>
          <pc:sldMk cId="747811040" sldId="1313"/>
        </pc:sldMkLst>
      </pc:sldChg>
      <pc:sldChg chg="ord">
        <pc:chgData name="Korneta, Iga" userId="S::iga.korneta@accenture.com::5bb3f265-4f39-4daa-912c-5caa86b505fb" providerId="AD" clId="Web-{C4E9365B-11A5-99D7-D4FD-DF17D23F72D9}" dt="2024-03-29T11:30:45.050" v="5"/>
        <pc:sldMkLst>
          <pc:docMk/>
          <pc:sldMk cId="2654585378" sldId="1331"/>
        </pc:sldMkLst>
      </pc:sldChg>
      <pc:sldChg chg="modSp ord">
        <pc:chgData name="Korneta, Iga" userId="S::iga.korneta@accenture.com::5bb3f265-4f39-4daa-912c-5caa86b505fb" providerId="AD" clId="Web-{C4E9365B-11A5-99D7-D4FD-DF17D23F72D9}" dt="2024-03-29T11:31:19.504" v="6"/>
        <pc:sldMkLst>
          <pc:docMk/>
          <pc:sldMk cId="2401991601" sldId="1332"/>
        </pc:sldMkLst>
        <pc:spChg chg="mod">
          <ac:chgData name="Korneta, Iga" userId="S::iga.korneta@accenture.com::5bb3f265-4f39-4daa-912c-5caa86b505fb" providerId="AD" clId="Web-{C4E9365B-11A5-99D7-D4FD-DF17D23F72D9}" dt="2024-03-29T11:16:32.331" v="0"/>
          <ac:spMkLst>
            <pc:docMk/>
            <pc:sldMk cId="2401991601" sldId="1332"/>
            <ac:spMk id="10" creationId="{68D47195-2257-27FD-9554-F23924FA4345}"/>
          </ac:spMkLst>
        </pc:spChg>
      </pc:sldChg>
      <pc:sldChg chg="modSp">
        <pc:chgData name="Korneta, Iga" userId="S::iga.korneta@accenture.com::5bb3f265-4f39-4daa-912c-5caa86b505fb" providerId="AD" clId="Web-{C4E9365B-11A5-99D7-D4FD-DF17D23F72D9}" dt="2024-03-29T11:16:32.331" v="0"/>
        <pc:sldMkLst>
          <pc:docMk/>
          <pc:sldMk cId="1804232919" sldId="1337"/>
        </pc:sldMkLst>
        <pc:spChg chg="mod">
          <ac:chgData name="Korneta, Iga" userId="S::iga.korneta@accenture.com::5bb3f265-4f39-4daa-912c-5caa86b505fb" providerId="AD" clId="Web-{C4E9365B-11A5-99D7-D4FD-DF17D23F72D9}" dt="2024-03-29T11:16:32.331" v="0"/>
          <ac:spMkLst>
            <pc:docMk/>
            <pc:sldMk cId="1804232919" sldId="1337"/>
            <ac:spMk id="5" creationId="{731985F1-A854-FF0C-23C8-8306F6E942BE}"/>
          </ac:spMkLst>
        </pc:spChg>
      </pc:sldChg>
      <pc:sldChg chg="ord">
        <pc:chgData name="Korneta, Iga" userId="S::iga.korneta@accenture.com::5bb3f265-4f39-4daa-912c-5caa86b505fb" providerId="AD" clId="Web-{C4E9365B-11A5-99D7-D4FD-DF17D23F72D9}" dt="2024-03-29T11:26:26.295" v="4"/>
        <pc:sldMkLst>
          <pc:docMk/>
          <pc:sldMk cId="2326664230" sldId="1366"/>
        </pc:sldMkLst>
      </pc:sldChg>
    </pc:docChg>
  </pc:docChgLst>
  <pc:docChgLst>
    <pc:chgData name="Shamilov, Ivan" userId="18d49310-16c7-4c26-9853-499b09544ae7" providerId="ADAL" clId="{1DF7F5E5-1B11-4ABB-BD1D-E091870DF373}"/>
    <pc:docChg chg="custSel addSld delSld modSld sldOrd">
      <pc:chgData name="Shamilov, Ivan" userId="18d49310-16c7-4c26-9853-499b09544ae7" providerId="ADAL" clId="{1DF7F5E5-1B11-4ABB-BD1D-E091870DF373}" dt="2024-03-05T08:24:24.641" v="618" actId="20577"/>
      <pc:docMkLst>
        <pc:docMk/>
      </pc:docMkLst>
      <pc:sldChg chg="ord">
        <pc:chgData name="Shamilov, Ivan" userId="18d49310-16c7-4c26-9853-499b09544ae7" providerId="ADAL" clId="{1DF7F5E5-1B11-4ABB-BD1D-E091870DF373}" dt="2024-02-01T12:52:53.666" v="1"/>
        <pc:sldMkLst>
          <pc:docMk/>
          <pc:sldMk cId="2586587400" sldId="1238"/>
        </pc:sldMkLst>
      </pc:sldChg>
      <pc:sldChg chg="modSp mod">
        <pc:chgData name="Shamilov, Ivan" userId="18d49310-16c7-4c26-9853-499b09544ae7" providerId="ADAL" clId="{1DF7F5E5-1B11-4ABB-BD1D-E091870DF373}" dt="2024-03-04T11:00:18.686" v="607" actId="27636"/>
        <pc:sldMkLst>
          <pc:docMk/>
          <pc:sldMk cId="3706624102" sldId="1322"/>
        </pc:sldMkLst>
        <pc:spChg chg="mod">
          <ac:chgData name="Shamilov, Ivan" userId="18d49310-16c7-4c26-9853-499b09544ae7" providerId="ADAL" clId="{1DF7F5E5-1B11-4ABB-BD1D-E091870DF373}" dt="2024-03-04T11:00:18.686" v="607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Shamilov, Ivan" userId="18d49310-16c7-4c26-9853-499b09544ae7" providerId="ADAL" clId="{1DF7F5E5-1B11-4ABB-BD1D-E091870DF373}" dt="2024-03-05T08:24:24.641" v="618" actId="20577"/>
        <pc:sldMkLst>
          <pc:docMk/>
          <pc:sldMk cId="4271209257" sldId="1357"/>
        </pc:sldMkLst>
        <pc:spChg chg="mod">
          <ac:chgData name="Shamilov, Ivan" userId="18d49310-16c7-4c26-9853-499b09544ae7" providerId="ADAL" clId="{1DF7F5E5-1B11-4ABB-BD1D-E091870DF373}" dt="2024-02-20T08:48:19.964" v="575" actId="113"/>
          <ac:spMkLst>
            <pc:docMk/>
            <pc:sldMk cId="4271209257" sldId="1357"/>
            <ac:spMk id="7" creationId="{33BC7E8F-321D-D3EA-93F2-9277C71CE905}"/>
          </ac:spMkLst>
        </pc:spChg>
        <pc:spChg chg="mod">
          <ac:chgData name="Shamilov, Ivan" userId="18d49310-16c7-4c26-9853-499b09544ae7" providerId="ADAL" clId="{1DF7F5E5-1B11-4ABB-BD1D-E091870DF373}" dt="2024-03-05T08:24:24.641" v="618" actId="20577"/>
          <ac:spMkLst>
            <pc:docMk/>
            <pc:sldMk cId="4271209257" sldId="1357"/>
            <ac:spMk id="8" creationId="{21B27FAC-F4D8-14FA-E816-E0F5A6718CC9}"/>
          </ac:spMkLst>
        </pc:spChg>
      </pc:sldChg>
      <pc:sldChg chg="add">
        <pc:chgData name="Shamilov, Ivan" userId="18d49310-16c7-4c26-9853-499b09544ae7" providerId="ADAL" clId="{1DF7F5E5-1B11-4ABB-BD1D-E091870DF373}" dt="2024-03-04T11:56:00.660" v="610"/>
        <pc:sldMkLst>
          <pc:docMk/>
          <pc:sldMk cId="1109194527" sldId="1369"/>
        </pc:sldMkLst>
      </pc:sldChg>
      <pc:sldChg chg="add del">
        <pc:chgData name="Shamilov, Ivan" userId="18d49310-16c7-4c26-9853-499b09544ae7" providerId="ADAL" clId="{1DF7F5E5-1B11-4ABB-BD1D-E091870DF373}" dt="2024-03-04T11:56:00.597" v="609"/>
        <pc:sldMkLst>
          <pc:docMk/>
          <pc:sldMk cId="3808394842" sldId="1369"/>
        </pc:sldMkLst>
      </pc:sldChg>
    </pc:docChg>
  </pc:docChgLst>
  <pc:docChgLst>
    <pc:chgData name="Slomka, Natalia" userId="d1a0bb66-27ec-452c-a3b0-13bf04b0ef55" providerId="ADAL" clId="{7018FF14-8A27-4A05-89BD-4CA93AA86AF2}"/>
    <pc:docChg chg="undo custSel modSld">
      <pc:chgData name="Slomka, Natalia" userId="d1a0bb66-27ec-452c-a3b0-13bf04b0ef55" providerId="ADAL" clId="{7018FF14-8A27-4A05-89BD-4CA93AA86AF2}" dt="2024-01-11T09:36:05.410" v="778" actId="20577"/>
      <pc:docMkLst>
        <pc:docMk/>
      </pc:docMkLst>
      <pc:sldChg chg="modSp mod">
        <pc:chgData name="Slomka, Natalia" userId="d1a0bb66-27ec-452c-a3b0-13bf04b0ef55" providerId="ADAL" clId="{7018FF14-8A27-4A05-89BD-4CA93AA86AF2}" dt="2024-01-11T09:36:05.410" v="778" actId="20577"/>
        <pc:sldMkLst>
          <pc:docMk/>
          <pc:sldMk cId="507480854" sldId="1298"/>
        </pc:sldMkLst>
        <pc:spChg chg="mod">
          <ac:chgData name="Slomka, Natalia" userId="d1a0bb66-27ec-452c-a3b0-13bf04b0ef55" providerId="ADAL" clId="{7018FF14-8A27-4A05-89BD-4CA93AA86AF2}" dt="2024-01-11T09:36:05.410" v="778" actId="20577"/>
          <ac:spMkLst>
            <pc:docMk/>
            <pc:sldMk cId="507480854" sldId="1298"/>
            <ac:spMk id="2" creationId="{911674FA-AAB1-290E-AC82-CA87E6310AA5}"/>
          </ac:spMkLst>
        </pc:spChg>
        <pc:spChg chg="mod">
          <ac:chgData name="Slomka, Natalia" userId="d1a0bb66-27ec-452c-a3b0-13bf04b0ef55" providerId="ADAL" clId="{7018FF14-8A27-4A05-89BD-4CA93AA86AF2}" dt="2024-01-11T09:08:54.422" v="692" actId="20577"/>
          <ac:spMkLst>
            <pc:docMk/>
            <pc:sldMk cId="507480854" sldId="1298"/>
            <ac:spMk id="8" creationId="{A9D0EDE1-319C-F7C6-A99B-9FCF1CAD96E2}"/>
          </ac:spMkLst>
        </pc:spChg>
        <pc:spChg chg="mod">
          <ac:chgData name="Slomka, Natalia" userId="d1a0bb66-27ec-452c-a3b0-13bf04b0ef55" providerId="ADAL" clId="{7018FF14-8A27-4A05-89BD-4CA93AA86AF2}" dt="2024-01-11T08:55:11.383" v="630" actId="20577"/>
          <ac:spMkLst>
            <pc:docMk/>
            <pc:sldMk cId="507480854" sldId="1298"/>
            <ac:spMk id="10" creationId="{68D47195-2257-27FD-9554-F23924FA4345}"/>
          </ac:spMkLst>
        </pc:spChg>
      </pc:sldChg>
    </pc:docChg>
  </pc:docChgLst>
  <pc:docChgLst>
    <pc:chgData name="Korneta, Iga" userId="S::iga.korneta@accenture.com::5bb3f265-4f39-4daa-912c-5caa86b505fb" providerId="AD" clId="Web-{66376E18-932C-3EDF-2A60-34A9E05C8B24}"/>
    <pc:docChg chg="modSld sldOrd">
      <pc:chgData name="Korneta, Iga" userId="S::iga.korneta@accenture.com::5bb3f265-4f39-4daa-912c-5caa86b505fb" providerId="AD" clId="Web-{66376E18-932C-3EDF-2A60-34A9E05C8B24}" dt="2024-03-07T13:09:08.476" v="129" actId="20577"/>
      <pc:docMkLst>
        <pc:docMk/>
      </pc:docMkLst>
      <pc:sldChg chg="modSp">
        <pc:chgData name="Korneta, Iga" userId="S::iga.korneta@accenture.com::5bb3f265-4f39-4daa-912c-5caa86b505fb" providerId="AD" clId="Web-{66376E18-932C-3EDF-2A60-34A9E05C8B24}" dt="2024-03-07T13:01:34.634" v="52" actId="20577"/>
        <pc:sldMkLst>
          <pc:docMk/>
          <pc:sldMk cId="3953439156" sldId="1218"/>
        </pc:sldMkLst>
        <pc:spChg chg="mod">
          <ac:chgData name="Korneta, Iga" userId="S::iga.korneta@accenture.com::5bb3f265-4f39-4daa-912c-5caa86b505fb" providerId="AD" clId="Web-{66376E18-932C-3EDF-2A60-34A9E05C8B24}" dt="2024-03-07T13:01:18.103" v="46" actId="20577"/>
          <ac:spMkLst>
            <pc:docMk/>
            <pc:sldMk cId="3953439156" sldId="1218"/>
            <ac:spMk id="4" creationId="{C86BA3DB-B572-7A7D-1449-1BB8574AED12}"/>
          </ac:spMkLst>
        </pc:spChg>
        <pc:spChg chg="mod">
          <ac:chgData name="Korneta, Iga" userId="S::iga.korneta@accenture.com::5bb3f265-4f39-4daa-912c-5caa86b505fb" providerId="AD" clId="Web-{66376E18-932C-3EDF-2A60-34A9E05C8B24}" dt="2024-03-07T13:01:34.634" v="52" actId="20577"/>
          <ac:spMkLst>
            <pc:docMk/>
            <pc:sldMk cId="3953439156" sldId="1218"/>
            <ac:spMk id="7" creationId="{5BB75E3F-E931-615A-68A2-7BB81C48CFAD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2:13.573" v="54" actId="20577"/>
        <pc:sldMkLst>
          <pc:docMk/>
          <pc:sldMk cId="2838923465" sldId="1219"/>
        </pc:sldMkLst>
        <pc:spChg chg="mod">
          <ac:chgData name="Korneta, Iga" userId="S::iga.korneta@accenture.com::5bb3f265-4f39-4daa-912c-5caa86b505fb" providerId="AD" clId="Web-{66376E18-932C-3EDF-2A60-34A9E05C8B24}" dt="2024-03-07T13:02:13.573" v="54" actId="20577"/>
          <ac:spMkLst>
            <pc:docMk/>
            <pc:sldMk cId="2838923465" sldId="1219"/>
            <ac:spMk id="2" creationId="{933F63B5-DB9A-97EA-580C-E694963932CE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2:32.261" v="60" actId="20577"/>
        <pc:sldMkLst>
          <pc:docMk/>
          <pc:sldMk cId="2962901384" sldId="1223"/>
        </pc:sldMkLst>
        <pc:spChg chg="mod">
          <ac:chgData name="Korneta, Iga" userId="S::iga.korneta@accenture.com::5bb3f265-4f39-4daa-912c-5caa86b505fb" providerId="AD" clId="Web-{66376E18-932C-3EDF-2A60-34A9E05C8B24}" dt="2024-03-07T13:02:32.261" v="60" actId="20577"/>
          <ac:spMkLst>
            <pc:docMk/>
            <pc:sldMk cId="2962901384" sldId="1223"/>
            <ac:spMk id="4" creationId="{A43141BC-27B9-3206-0BA5-5F19599F51DE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2:53.184" v="75" actId="20577"/>
        <pc:sldMkLst>
          <pc:docMk/>
          <pc:sldMk cId="210554779" sldId="1225"/>
        </pc:sldMkLst>
        <pc:spChg chg="mod">
          <ac:chgData name="Korneta, Iga" userId="S::iga.korneta@accenture.com::5bb3f265-4f39-4daa-912c-5caa86b505fb" providerId="AD" clId="Web-{66376E18-932C-3EDF-2A60-34A9E05C8B24}" dt="2024-03-07T13:02:53.184" v="75" actId="20577"/>
          <ac:spMkLst>
            <pc:docMk/>
            <pc:sldMk cId="210554779" sldId="1225"/>
            <ac:spMk id="4" creationId="{A43141BC-27B9-3206-0BA5-5F19599F51DE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4:00.686" v="80" actId="20577"/>
        <pc:sldMkLst>
          <pc:docMk/>
          <pc:sldMk cId="2718533031" sldId="1244"/>
        </pc:sldMkLst>
        <pc:spChg chg="mod">
          <ac:chgData name="Korneta, Iga" userId="S::iga.korneta@accenture.com::5bb3f265-4f39-4daa-912c-5caa86b505fb" providerId="AD" clId="Web-{66376E18-932C-3EDF-2A60-34A9E05C8B24}" dt="2024-03-07T13:04:00.686" v="80" actId="20577"/>
          <ac:spMkLst>
            <pc:docMk/>
            <pc:sldMk cId="2718533031" sldId="1244"/>
            <ac:spMk id="4" creationId="{39B79FF7-5546-B5D0-13B3-2CC7A676D01C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4:24.796" v="87" actId="20577"/>
        <pc:sldMkLst>
          <pc:docMk/>
          <pc:sldMk cId="1389653122" sldId="1249"/>
        </pc:sldMkLst>
        <pc:spChg chg="mod">
          <ac:chgData name="Korneta, Iga" userId="S::iga.korneta@accenture.com::5bb3f265-4f39-4daa-912c-5caa86b505fb" providerId="AD" clId="Web-{66376E18-932C-3EDF-2A60-34A9E05C8B24}" dt="2024-03-07T13:04:24.796" v="87" actId="20577"/>
          <ac:spMkLst>
            <pc:docMk/>
            <pc:sldMk cId="1389653122" sldId="1249"/>
            <ac:spMk id="4" creationId="{6F381516-F3F1-5803-258D-A281CE214469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4:54.140" v="93" actId="20577"/>
        <pc:sldMkLst>
          <pc:docMk/>
          <pc:sldMk cId="2020901150" sldId="1260"/>
        </pc:sldMkLst>
        <pc:spChg chg="mod">
          <ac:chgData name="Korneta, Iga" userId="S::iga.korneta@accenture.com::5bb3f265-4f39-4daa-912c-5caa86b505fb" providerId="AD" clId="Web-{66376E18-932C-3EDF-2A60-34A9E05C8B24}" dt="2024-03-07T13:04:54.140" v="93" actId="20577"/>
          <ac:spMkLst>
            <pc:docMk/>
            <pc:sldMk cId="2020901150" sldId="1260"/>
            <ac:spMk id="4" creationId="{6F381516-F3F1-5803-258D-A281CE214469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6:17.049" v="105" actId="20577"/>
        <pc:sldMkLst>
          <pc:docMk/>
          <pc:sldMk cId="3277565419" sldId="1266"/>
        </pc:sldMkLst>
        <pc:spChg chg="mod">
          <ac:chgData name="Korneta, Iga" userId="S::iga.korneta@accenture.com::5bb3f265-4f39-4daa-912c-5caa86b505fb" providerId="AD" clId="Web-{66376E18-932C-3EDF-2A60-34A9E05C8B24}" dt="2024-03-07T13:06:17.049" v="105" actId="20577"/>
          <ac:spMkLst>
            <pc:docMk/>
            <pc:sldMk cId="3277565419" sldId="1266"/>
            <ac:spMk id="4" creationId="{6F381516-F3F1-5803-258D-A281CE214469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6:29.487" v="109" actId="20577"/>
        <pc:sldMkLst>
          <pc:docMk/>
          <pc:sldMk cId="527269364" sldId="1267"/>
        </pc:sldMkLst>
        <pc:spChg chg="mod">
          <ac:chgData name="Korneta, Iga" userId="S::iga.korneta@accenture.com::5bb3f265-4f39-4daa-912c-5caa86b505fb" providerId="AD" clId="Web-{66376E18-932C-3EDF-2A60-34A9E05C8B24}" dt="2024-03-07T13:06:29.487" v="109" actId="20577"/>
          <ac:spMkLst>
            <pc:docMk/>
            <pc:sldMk cId="527269364" sldId="1267"/>
            <ac:spMk id="4" creationId="{6F381516-F3F1-5803-258D-A281CE214469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7:45.864" v="122" actId="20577"/>
        <pc:sldMkLst>
          <pc:docMk/>
          <pc:sldMk cId="2929832845" sldId="1281"/>
        </pc:sldMkLst>
        <pc:spChg chg="mod">
          <ac:chgData name="Korneta, Iga" userId="S::iga.korneta@accenture.com::5bb3f265-4f39-4daa-912c-5caa86b505fb" providerId="AD" clId="Web-{66376E18-932C-3EDF-2A60-34A9E05C8B24}" dt="2024-03-07T13:07:45.864" v="122" actId="20577"/>
          <ac:spMkLst>
            <pc:docMk/>
            <pc:sldMk cId="2929832845" sldId="1281"/>
            <ac:spMk id="4" creationId="{6F381516-F3F1-5803-258D-A281CE214469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5:38.751" v="98" actId="20577"/>
        <pc:sldMkLst>
          <pc:docMk/>
          <pc:sldMk cId="1804232919" sldId="1337"/>
        </pc:sldMkLst>
        <pc:spChg chg="mod">
          <ac:chgData name="Korneta, Iga" userId="S::iga.korneta@accenture.com::5bb3f265-4f39-4daa-912c-5caa86b505fb" providerId="AD" clId="Web-{66376E18-932C-3EDF-2A60-34A9E05C8B24}" dt="2024-03-07T13:05:38.751" v="98" actId="20577"/>
          <ac:spMkLst>
            <pc:docMk/>
            <pc:sldMk cId="1804232919" sldId="1337"/>
            <ac:spMk id="2" creationId="{911674FA-AAB1-290E-AC82-CA87E6310AA5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9:08.476" v="129" actId="20577"/>
        <pc:sldMkLst>
          <pc:docMk/>
          <pc:sldMk cId="2661039463" sldId="1345"/>
        </pc:sldMkLst>
        <pc:spChg chg="mod">
          <ac:chgData name="Korneta, Iga" userId="S::iga.korneta@accenture.com::5bb3f265-4f39-4daa-912c-5caa86b505fb" providerId="AD" clId="Web-{66376E18-932C-3EDF-2A60-34A9E05C8B24}" dt="2024-03-07T13:09:08.476" v="129" actId="20577"/>
          <ac:spMkLst>
            <pc:docMk/>
            <pc:sldMk cId="2661039463" sldId="1345"/>
            <ac:spMk id="4" creationId="{6F381516-F3F1-5803-258D-A281CE214469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2:39.949" v="68" actId="20577"/>
        <pc:sldMkLst>
          <pc:docMk/>
          <pc:sldMk cId="3202719610" sldId="1351"/>
        </pc:sldMkLst>
        <pc:spChg chg="mod">
          <ac:chgData name="Korneta, Iga" userId="S::iga.korneta@accenture.com::5bb3f265-4f39-4daa-912c-5caa86b505fb" providerId="AD" clId="Web-{66376E18-932C-3EDF-2A60-34A9E05C8B24}" dt="2024-03-07T13:02:39.949" v="68" actId="20577"/>
          <ac:spMkLst>
            <pc:docMk/>
            <pc:sldMk cId="3202719610" sldId="1351"/>
            <ac:spMk id="4" creationId="{A43141BC-27B9-3206-0BA5-5F19599F51DE}"/>
          </ac:spMkLst>
        </pc:spChg>
      </pc:sldChg>
      <pc:sldChg chg="ord">
        <pc:chgData name="Korneta, Iga" userId="S::iga.korneta@accenture.com::5bb3f265-4f39-4daa-912c-5caa86b505fb" providerId="AD" clId="Web-{66376E18-932C-3EDF-2A60-34A9E05C8B24}" dt="2024-03-07T13:04:42.671" v="88"/>
        <pc:sldMkLst>
          <pc:docMk/>
          <pc:sldMk cId="3831383783" sldId="1352"/>
        </pc:sldMkLst>
      </pc:sldChg>
      <pc:sldChg chg="modSp">
        <pc:chgData name="Korneta, Iga" userId="S::iga.korneta@accenture.com::5bb3f265-4f39-4daa-912c-5caa86b505fb" providerId="AD" clId="Web-{66376E18-932C-3EDF-2A60-34A9E05C8B24}" dt="2024-03-07T13:00:55.852" v="40" actId="20577"/>
        <pc:sldMkLst>
          <pc:docMk/>
          <pc:sldMk cId="282247140" sldId="1363"/>
        </pc:sldMkLst>
        <pc:spChg chg="mod">
          <ac:chgData name="Korneta, Iga" userId="S::iga.korneta@accenture.com::5bb3f265-4f39-4daa-912c-5caa86b505fb" providerId="AD" clId="Web-{66376E18-932C-3EDF-2A60-34A9E05C8B24}" dt="2024-03-07T13:00:17.273" v="32" actId="20577"/>
          <ac:spMkLst>
            <pc:docMk/>
            <pc:sldMk cId="282247140" sldId="1363"/>
            <ac:spMk id="2" creationId="{AAB8BB9D-0FB6-62BF-E1B5-48D59B98FF35}"/>
          </ac:spMkLst>
        </pc:spChg>
        <pc:spChg chg="mod">
          <ac:chgData name="Korneta, Iga" userId="S::iga.korneta@accenture.com::5bb3f265-4f39-4daa-912c-5caa86b505fb" providerId="AD" clId="Web-{66376E18-932C-3EDF-2A60-34A9E05C8B24}" dt="2024-03-07T12:47:13.311" v="6" actId="20577"/>
          <ac:spMkLst>
            <pc:docMk/>
            <pc:sldMk cId="282247140" sldId="1363"/>
            <ac:spMk id="4" creationId="{C86BA3DB-B572-7A7D-1449-1BB8574AED12}"/>
          </ac:spMkLst>
        </pc:spChg>
        <pc:spChg chg="mod">
          <ac:chgData name="Korneta, Iga" userId="S::iga.korneta@accenture.com::5bb3f265-4f39-4daa-912c-5caa86b505fb" providerId="AD" clId="Web-{66376E18-932C-3EDF-2A60-34A9E05C8B24}" dt="2024-03-07T12:47:23.686" v="10" actId="20577"/>
          <ac:spMkLst>
            <pc:docMk/>
            <pc:sldMk cId="282247140" sldId="1363"/>
            <ac:spMk id="5" creationId="{56700296-51A8-1440-440E-D7AA7D6C411B}"/>
          </ac:spMkLst>
        </pc:spChg>
        <pc:spChg chg="mod">
          <ac:chgData name="Korneta, Iga" userId="S::iga.korneta@accenture.com::5bb3f265-4f39-4daa-912c-5caa86b505fb" providerId="AD" clId="Web-{66376E18-932C-3EDF-2A60-34A9E05C8B24}" dt="2024-03-07T12:47:16.139" v="8" actId="20577"/>
          <ac:spMkLst>
            <pc:docMk/>
            <pc:sldMk cId="282247140" sldId="1363"/>
            <ac:spMk id="7" creationId="{5BB75E3F-E931-615A-68A2-7BB81C48CFAD}"/>
          </ac:spMkLst>
        </pc:spChg>
        <pc:spChg chg="mod">
          <ac:chgData name="Korneta, Iga" userId="S::iga.korneta@accenture.com::5bb3f265-4f39-4daa-912c-5caa86b505fb" providerId="AD" clId="Web-{66376E18-932C-3EDF-2A60-34A9E05C8B24}" dt="2024-03-07T13:00:55.852" v="40" actId="20577"/>
          <ac:spMkLst>
            <pc:docMk/>
            <pc:sldMk cId="282247140" sldId="1363"/>
            <ac:spMk id="8" creationId="{470BA70A-2BDE-FA95-B241-FA70FDE67E60}"/>
          </ac:spMkLst>
        </pc:spChg>
        <pc:spChg chg="mod">
          <ac:chgData name="Korneta, Iga" userId="S::iga.korneta@accenture.com::5bb3f265-4f39-4daa-912c-5caa86b505fb" providerId="AD" clId="Web-{66376E18-932C-3EDF-2A60-34A9E05C8B24}" dt="2024-03-07T13:00:05.522" v="30" actId="20577"/>
          <ac:spMkLst>
            <pc:docMk/>
            <pc:sldMk cId="282247140" sldId="1363"/>
            <ac:spMk id="9" creationId="{8F7477FF-EA27-C0C1-3AD2-776530A4297E}"/>
          </ac:spMkLst>
        </pc:spChg>
        <pc:spChg chg="mod">
          <ac:chgData name="Korneta, Iga" userId="S::iga.korneta@accenture.com::5bb3f265-4f39-4daa-912c-5caa86b505fb" providerId="AD" clId="Web-{66376E18-932C-3EDF-2A60-34A9E05C8B24}" dt="2024-03-07T13:00:53.399" v="37" actId="20577"/>
          <ac:spMkLst>
            <pc:docMk/>
            <pc:sldMk cId="282247140" sldId="1363"/>
            <ac:spMk id="10" creationId="{F538107F-65D0-6F34-3C3B-5A87C3C26470}"/>
          </ac:spMkLst>
        </pc:spChg>
      </pc:sldChg>
      <pc:sldChg chg="modSp">
        <pc:chgData name="Korneta, Iga" userId="S::iga.korneta@accenture.com::5bb3f265-4f39-4daa-912c-5caa86b505fb" providerId="AD" clId="Web-{66376E18-932C-3EDF-2A60-34A9E05C8B24}" dt="2024-03-07T13:06:50.863" v="116" actId="20577"/>
        <pc:sldMkLst>
          <pc:docMk/>
          <pc:sldMk cId="1635322474" sldId="1367"/>
        </pc:sldMkLst>
        <pc:spChg chg="mod">
          <ac:chgData name="Korneta, Iga" userId="S::iga.korneta@accenture.com::5bb3f265-4f39-4daa-912c-5caa86b505fb" providerId="AD" clId="Web-{66376E18-932C-3EDF-2A60-34A9E05C8B24}" dt="2024-03-07T13:06:50.863" v="116" actId="20577"/>
          <ac:spMkLst>
            <pc:docMk/>
            <pc:sldMk cId="1635322474" sldId="1367"/>
            <ac:spMk id="4" creationId="{77EFDFA8-BD7C-3D3F-8321-74FE515F0294}"/>
          </ac:spMkLst>
        </pc:spChg>
      </pc:sldChg>
    </pc:docChg>
  </pc:docChgLst>
  <pc:docChgLst>
    <pc:chgData name="Janczewski, Piotr" userId="S::piotr.janczewski@accenture.com::2467fbf0-2ef4-434e-b40e-471cd3a495c7" providerId="AD" clId="Web-{979ABF4C-23A9-8D8A-3733-C9BC574FEB37}"/>
    <pc:docChg chg="modSld">
      <pc:chgData name="Janczewski, Piotr" userId="S::piotr.janczewski@accenture.com::2467fbf0-2ef4-434e-b40e-471cd3a495c7" providerId="AD" clId="Web-{979ABF4C-23A9-8D8A-3733-C9BC574FEB37}" dt="2023-12-19T11:16:52.273" v="0"/>
      <pc:docMkLst>
        <pc:docMk/>
      </pc:docMkLst>
      <pc:sldChg chg="mod modShow">
        <pc:chgData name="Janczewski, Piotr" userId="S::piotr.janczewski@accenture.com::2467fbf0-2ef4-434e-b40e-471cd3a495c7" providerId="AD" clId="Web-{979ABF4C-23A9-8D8A-3733-C9BC574FEB37}" dt="2023-12-19T11:16:52.273" v="0"/>
        <pc:sldMkLst>
          <pc:docMk/>
          <pc:sldMk cId="1196115407" sldId="1306"/>
        </pc:sldMkLst>
      </pc:sldChg>
    </pc:docChg>
  </pc:docChgLst>
  <pc:docChgLst>
    <pc:chgData name="Jankowski, Karol" userId="2717db15-0366-4600-b77d-915952bdfc10" providerId="ADAL" clId="{274E0A74-A147-40B4-84F5-49334C00A3C9}"/>
    <pc:docChg chg="modSld">
      <pc:chgData name="Jankowski, Karol" userId="2717db15-0366-4600-b77d-915952bdfc10" providerId="ADAL" clId="{274E0A74-A147-40B4-84F5-49334C00A3C9}" dt="2024-02-21T15:23:59.577" v="67" actId="14100"/>
      <pc:docMkLst>
        <pc:docMk/>
      </pc:docMkLst>
      <pc:sldChg chg="modSp mod">
        <pc:chgData name="Jankowski, Karol" userId="2717db15-0366-4600-b77d-915952bdfc10" providerId="ADAL" clId="{274E0A74-A147-40B4-84F5-49334C00A3C9}" dt="2024-02-21T15:23:59.577" v="67" actId="14100"/>
        <pc:sldMkLst>
          <pc:docMk/>
          <pc:sldMk cId="4146181164" sldId="1253"/>
        </pc:sldMkLst>
        <pc:spChg chg="mod">
          <ac:chgData name="Jankowski, Karol" userId="2717db15-0366-4600-b77d-915952bdfc10" providerId="ADAL" clId="{274E0A74-A147-40B4-84F5-49334C00A3C9}" dt="2024-02-21T15:23:08.565" v="51" actId="120"/>
          <ac:spMkLst>
            <pc:docMk/>
            <pc:sldMk cId="4146181164" sldId="1253"/>
            <ac:spMk id="2" creationId="{911674FA-AAB1-290E-AC82-CA87E6310AA5}"/>
          </ac:spMkLst>
        </pc:spChg>
        <pc:spChg chg="mod">
          <ac:chgData name="Jankowski, Karol" userId="2717db15-0366-4600-b77d-915952bdfc10" providerId="ADAL" clId="{274E0A74-A147-40B4-84F5-49334C00A3C9}" dt="2024-02-21T15:23:59.577" v="67" actId="14100"/>
          <ac:spMkLst>
            <pc:docMk/>
            <pc:sldMk cId="4146181164" sldId="1253"/>
            <ac:spMk id="3" creationId="{24306D85-71DB-A43C-EE9F-A05E2C3B843E}"/>
          </ac:spMkLst>
        </pc:spChg>
        <pc:spChg chg="mod">
          <ac:chgData name="Jankowski, Karol" userId="2717db15-0366-4600-b77d-915952bdfc10" providerId="ADAL" clId="{274E0A74-A147-40B4-84F5-49334C00A3C9}" dt="2024-02-21T15:22:33.063" v="48"/>
          <ac:spMkLst>
            <pc:docMk/>
            <pc:sldMk cId="4146181164" sldId="1253"/>
            <ac:spMk id="7" creationId="{96CAE378-94B4-0269-C4D1-EBD2C607BCC3}"/>
          </ac:spMkLst>
        </pc:spChg>
      </pc:sldChg>
    </pc:docChg>
  </pc:docChgLst>
  <pc:docChgLst>
    <pc:chgData clId="Web-{BAFDE889-1083-5A50-E1C3-06DA86CA914C}"/>
    <pc:docChg chg="addSld modSection">
      <pc:chgData name="" userId="" providerId="" clId="Web-{BAFDE889-1083-5A50-E1C3-06DA86CA914C}" dt="2024-04-02T07:07:30.727" v="0"/>
      <pc:docMkLst>
        <pc:docMk/>
      </pc:docMkLst>
      <pc:sldChg chg="add replId">
        <pc:chgData name="" userId="" providerId="" clId="Web-{BAFDE889-1083-5A50-E1C3-06DA86CA914C}" dt="2024-04-02T07:07:30.727" v="0"/>
        <pc:sldMkLst>
          <pc:docMk/>
          <pc:sldMk cId="485523581" sldId="1373"/>
        </pc:sldMkLst>
      </pc:sldChg>
    </pc:docChg>
  </pc:docChgLst>
  <pc:docChgLst>
    <pc:chgData name="Jablonska, Martyna" userId="S::martyna.jablonska@accenture.com::61db2c6a-f030-4d6e-a1ab-261fc8f36838" providerId="AD" clId="Web-{2B722B4C-6ABA-85C3-F2B7-84B1F5AADFC0}"/>
    <pc:docChg chg="modSld">
      <pc:chgData name="Jablonska, Martyna" userId="S::martyna.jablonska@accenture.com::61db2c6a-f030-4d6e-a1ab-261fc8f36838" providerId="AD" clId="Web-{2B722B4C-6ABA-85C3-F2B7-84B1F5AADFC0}" dt="2024-01-10T10:54:48.509" v="183" actId="20577"/>
      <pc:docMkLst>
        <pc:docMk/>
      </pc:docMkLst>
      <pc:sldChg chg="modSp">
        <pc:chgData name="Jablonska, Martyna" userId="S::martyna.jablonska@accenture.com::61db2c6a-f030-4d6e-a1ab-261fc8f36838" providerId="AD" clId="Web-{2B722B4C-6ABA-85C3-F2B7-84B1F5AADFC0}" dt="2024-01-10T10:54:48.509" v="183" actId="20577"/>
        <pc:sldMkLst>
          <pc:docMk/>
          <pc:sldMk cId="1241472327" sldId="1247"/>
        </pc:sldMkLst>
        <pc:spChg chg="mod">
          <ac:chgData name="Jablonska, Martyna" userId="S::martyna.jablonska@accenture.com::61db2c6a-f030-4d6e-a1ab-261fc8f36838" providerId="AD" clId="Web-{2B722B4C-6ABA-85C3-F2B7-84B1F5AADFC0}" dt="2024-01-10T10:54:48.509" v="183" actId="20577"/>
          <ac:spMkLst>
            <pc:docMk/>
            <pc:sldMk cId="1241472327" sldId="1247"/>
            <ac:spMk id="2" creationId="{911674FA-AAB1-290E-AC82-CA87E6310AA5}"/>
          </ac:spMkLst>
        </pc:spChg>
        <pc:spChg chg="mod">
          <ac:chgData name="Jablonska, Martyna" userId="S::martyna.jablonska@accenture.com::61db2c6a-f030-4d6e-a1ab-261fc8f36838" providerId="AD" clId="Web-{2B722B4C-6ABA-85C3-F2B7-84B1F5AADFC0}" dt="2024-01-10T10:53:23.819" v="174" actId="14100"/>
          <ac:spMkLst>
            <pc:docMk/>
            <pc:sldMk cId="1241472327" sldId="1247"/>
            <ac:spMk id="7" creationId="{96CAE378-94B4-0269-C4D1-EBD2C607BCC3}"/>
          </ac:spMkLst>
        </pc:spChg>
        <pc:spChg chg="mod">
          <ac:chgData name="Jablonska, Martyna" userId="S::martyna.jablonska@accenture.com::61db2c6a-f030-4d6e-a1ab-261fc8f36838" providerId="AD" clId="Web-{2B722B4C-6ABA-85C3-F2B7-84B1F5AADFC0}" dt="2024-01-10T10:38:00.781" v="54" actId="20577"/>
          <ac:spMkLst>
            <pc:docMk/>
            <pc:sldMk cId="1241472327" sldId="1247"/>
            <ac:spMk id="10" creationId="{68D47195-2257-27FD-9554-F23924FA4345}"/>
          </ac:spMkLst>
        </pc:spChg>
      </pc:sldChg>
    </pc:docChg>
  </pc:docChgLst>
  <pc:docChgLst>
    <pc:chgData name="Hachim, Adel" userId="S::adel.hachim@accenture.com::35b68745-81ff-4c11-956b-d3a71da06ada" providerId="AD" clId="Web-{F1B92B8E-BC8F-A99E-87DF-BDCB3F3ADE88}"/>
    <pc:docChg chg="modSld">
      <pc:chgData name="Hachim, Adel" userId="S::adel.hachim@accenture.com::35b68745-81ff-4c11-956b-d3a71da06ada" providerId="AD" clId="Web-{F1B92B8E-BC8F-A99E-87DF-BDCB3F3ADE88}" dt="2023-12-10T18:21:35.720" v="41" actId="20577"/>
      <pc:docMkLst>
        <pc:docMk/>
      </pc:docMkLst>
      <pc:sldChg chg="modSp">
        <pc:chgData name="Hachim, Adel" userId="S::adel.hachim@accenture.com::35b68745-81ff-4c11-956b-d3a71da06ada" providerId="AD" clId="Web-{F1B92B8E-BC8F-A99E-87DF-BDCB3F3ADE88}" dt="2023-12-10T18:21:35.720" v="41" actId="20577"/>
        <pc:sldMkLst>
          <pc:docMk/>
          <pc:sldMk cId="3110582467" sldId="1348"/>
        </pc:sldMkLst>
        <pc:spChg chg="mod">
          <ac:chgData name="Hachim, Adel" userId="S::adel.hachim@accenture.com::35b68745-81ff-4c11-956b-d3a71da06ada" providerId="AD" clId="Web-{F1B92B8E-BC8F-A99E-87DF-BDCB3F3ADE88}" dt="2023-12-10T18:21:35.720" v="41" actId="20577"/>
          <ac:spMkLst>
            <pc:docMk/>
            <pc:sldMk cId="3110582467" sldId="1348"/>
            <ac:spMk id="10" creationId="{7F4538DC-45FB-A8B8-9BDE-A8EA913481D9}"/>
          </ac:spMkLst>
        </pc:spChg>
      </pc:sldChg>
    </pc:docChg>
  </pc:docChgLst>
  <pc:docChgLst>
    <pc:chgData name="Mróz, Edyta" userId="S::edyta.mroz@accenture.com::d039859b-4177-4bb5-bcf4-d033cde24e68" providerId="AD" clId="Web-{EDD64559-B197-1600-1018-BB1B70AD0A5C}"/>
    <pc:docChg chg="modSld">
      <pc:chgData name="Mróz, Edyta" userId="S::edyta.mroz@accenture.com::d039859b-4177-4bb5-bcf4-d033cde24e68" providerId="AD" clId="Web-{EDD64559-B197-1600-1018-BB1B70AD0A5C}" dt="2024-03-12T11:20:13.646" v="13" actId="20577"/>
      <pc:docMkLst>
        <pc:docMk/>
      </pc:docMkLst>
      <pc:sldChg chg="modSp">
        <pc:chgData name="Mróz, Edyta" userId="S::edyta.mroz@accenture.com::d039859b-4177-4bb5-bcf4-d033cde24e68" providerId="AD" clId="Web-{EDD64559-B197-1600-1018-BB1B70AD0A5C}" dt="2024-03-12T11:20:13.646" v="13" actId="20577"/>
        <pc:sldMkLst>
          <pc:docMk/>
          <pc:sldMk cId="4272818943" sldId="1361"/>
        </pc:sldMkLst>
        <pc:spChg chg="mod">
          <ac:chgData name="Mróz, Edyta" userId="S::edyta.mroz@accenture.com::d039859b-4177-4bb5-bcf4-d033cde24e68" providerId="AD" clId="Web-{EDD64559-B197-1600-1018-BB1B70AD0A5C}" dt="2024-03-12T11:20:13.646" v="13" actId="20577"/>
          <ac:spMkLst>
            <pc:docMk/>
            <pc:sldMk cId="4272818943" sldId="1361"/>
            <ac:spMk id="8" creationId="{A9D0EDE1-319C-F7C6-A99B-9FCF1CAD96E2}"/>
          </ac:spMkLst>
        </pc:spChg>
      </pc:sldChg>
    </pc:docChg>
  </pc:docChgLst>
  <pc:docChgLst>
    <pc:chgData name="Fijalka, Malgorzata" userId="S::malgorzata.fijalka@accenture.com::d06e394b-1898-4561-8864-fc7e76b1e7e8" providerId="AD" clId="Web-{2144951C-08CC-EC31-DB54-6C9B2608BEDA}"/>
    <pc:docChg chg="modSld sldOrd">
      <pc:chgData name="Fijalka, Malgorzata" userId="S::malgorzata.fijalka@accenture.com::d06e394b-1898-4561-8864-fc7e76b1e7e8" providerId="AD" clId="Web-{2144951C-08CC-EC31-DB54-6C9B2608BEDA}" dt="2024-02-15T09:59:34.462" v="4" actId="20577"/>
      <pc:docMkLst>
        <pc:docMk/>
      </pc:docMkLst>
      <pc:sldChg chg="modSp ord">
        <pc:chgData name="Fijalka, Malgorzata" userId="S::malgorzata.fijalka@accenture.com::d06e394b-1898-4561-8864-fc7e76b1e7e8" providerId="AD" clId="Web-{2144951C-08CC-EC31-DB54-6C9B2608BEDA}" dt="2024-02-15T09:59:34.462" v="4" actId="20577"/>
        <pc:sldMkLst>
          <pc:docMk/>
          <pc:sldMk cId="2670694553" sldId="1236"/>
        </pc:sldMkLst>
        <pc:spChg chg="mod">
          <ac:chgData name="Fijalka, Malgorzata" userId="S::malgorzata.fijalka@accenture.com::d06e394b-1898-4561-8864-fc7e76b1e7e8" providerId="AD" clId="Web-{2144951C-08CC-EC31-DB54-6C9B2608BEDA}" dt="2024-02-15T09:59:34.462" v="4" actId="20577"/>
          <ac:spMkLst>
            <pc:docMk/>
            <pc:sldMk cId="2670694553" sldId="1236"/>
            <ac:spMk id="10" creationId="{6544F642-4FD7-D49B-CDFE-2E39F605B09B}"/>
          </ac:spMkLst>
        </pc:spChg>
      </pc:sldChg>
    </pc:docChg>
  </pc:docChgLst>
  <pc:docChgLst>
    <pc:chgData name="Makuch, Monika" userId="5f32b3e3-5b05-4c85-90fd-1c5e60f186a0" providerId="ADAL" clId="{7C1C7CD3-11C6-49C8-8BEE-58DA76DCC744}"/>
    <pc:docChg chg="custSel modSld sldOrd">
      <pc:chgData name="Makuch, Monika" userId="5f32b3e3-5b05-4c85-90fd-1c5e60f186a0" providerId="ADAL" clId="{7C1C7CD3-11C6-49C8-8BEE-58DA76DCC744}" dt="2024-03-01T09:50:10.982" v="106" actId="20577"/>
      <pc:docMkLst>
        <pc:docMk/>
      </pc:docMkLst>
      <pc:sldChg chg="mod modShow">
        <pc:chgData name="Makuch, Monika" userId="5f32b3e3-5b05-4c85-90fd-1c5e60f186a0" providerId="ADAL" clId="{7C1C7CD3-11C6-49C8-8BEE-58DA76DCC744}" dt="2024-01-08T19:41:16.963" v="1" actId="729"/>
        <pc:sldMkLst>
          <pc:docMk/>
          <pc:sldMk cId="4179683078" sldId="1221"/>
        </pc:sldMkLst>
      </pc:sldChg>
      <pc:sldChg chg="modSp mod ord">
        <pc:chgData name="Makuch, Monika" userId="5f32b3e3-5b05-4c85-90fd-1c5e60f186a0" providerId="ADAL" clId="{7C1C7CD3-11C6-49C8-8BEE-58DA76DCC744}" dt="2024-02-16T11:48:33.316" v="71"/>
        <pc:sldMkLst>
          <pc:docMk/>
          <pc:sldMk cId="3679542535" sldId="1271"/>
        </pc:sldMkLst>
        <pc:spChg chg="mod">
          <ac:chgData name="Makuch, Monika" userId="5f32b3e3-5b05-4c85-90fd-1c5e60f186a0" providerId="ADAL" clId="{7C1C7CD3-11C6-49C8-8BEE-58DA76DCC744}" dt="2024-01-05T12:36:01.600" v="0" actId="20577"/>
          <ac:spMkLst>
            <pc:docMk/>
            <pc:sldMk cId="3679542535" sldId="1271"/>
            <ac:spMk id="8" creationId="{A9D0EDE1-319C-F7C6-A99B-9FCF1CAD96E2}"/>
          </ac:spMkLst>
        </pc:spChg>
      </pc:sldChg>
      <pc:sldChg chg="ord">
        <pc:chgData name="Makuch, Monika" userId="5f32b3e3-5b05-4c85-90fd-1c5e60f186a0" providerId="ADAL" clId="{7C1C7CD3-11C6-49C8-8BEE-58DA76DCC744}" dt="2024-02-16T11:46:51.206" v="44"/>
        <pc:sldMkLst>
          <pc:docMk/>
          <pc:sldMk cId="1683928403" sldId="1324"/>
        </pc:sldMkLst>
      </pc:sldChg>
      <pc:sldChg chg="ord">
        <pc:chgData name="Makuch, Monika" userId="5f32b3e3-5b05-4c85-90fd-1c5e60f186a0" providerId="ADAL" clId="{7C1C7CD3-11C6-49C8-8BEE-58DA76DCC744}" dt="2024-02-16T11:57:51.286" v="73"/>
        <pc:sldMkLst>
          <pc:docMk/>
          <pc:sldMk cId="3967085744" sldId="1347"/>
        </pc:sldMkLst>
      </pc:sldChg>
      <pc:sldChg chg="modNotesTx">
        <pc:chgData name="Makuch, Monika" userId="5f32b3e3-5b05-4c85-90fd-1c5e60f186a0" providerId="ADAL" clId="{7C1C7CD3-11C6-49C8-8BEE-58DA76DCC744}" dt="2024-03-01T09:50:00.922" v="94" actId="20577"/>
        <pc:sldMkLst>
          <pc:docMk/>
          <pc:sldMk cId="3831383783" sldId="1352"/>
        </pc:sldMkLst>
      </pc:sldChg>
      <pc:sldChg chg="modNotesTx">
        <pc:chgData name="Makuch, Monika" userId="5f32b3e3-5b05-4c85-90fd-1c5e60f186a0" providerId="ADAL" clId="{7C1C7CD3-11C6-49C8-8BEE-58DA76DCC744}" dt="2024-02-16T11:47:20.699" v="67" actId="20577"/>
        <pc:sldMkLst>
          <pc:docMk/>
          <pc:sldMk cId="967545864" sldId="1360"/>
        </pc:sldMkLst>
      </pc:sldChg>
      <pc:sldChg chg="ord modNotesTx">
        <pc:chgData name="Makuch, Monika" userId="5f32b3e3-5b05-4c85-90fd-1c5e60f186a0" providerId="ADAL" clId="{7C1C7CD3-11C6-49C8-8BEE-58DA76DCC744}" dt="2024-02-16T11:47:34.131" v="69" actId="20577"/>
        <pc:sldMkLst>
          <pc:docMk/>
          <pc:sldMk cId="3349555335" sldId="1362"/>
        </pc:sldMkLst>
      </pc:sldChg>
      <pc:sldChg chg="modNotesTx">
        <pc:chgData name="Makuch, Monika" userId="5f32b3e3-5b05-4c85-90fd-1c5e60f186a0" providerId="ADAL" clId="{7C1C7CD3-11C6-49C8-8BEE-58DA76DCC744}" dt="2024-03-01T09:50:10.982" v="106" actId="20577"/>
        <pc:sldMkLst>
          <pc:docMk/>
          <pc:sldMk cId="282247140" sldId="1363"/>
        </pc:sldMkLst>
      </pc:sldChg>
      <pc:sldChg chg="modNotesTx">
        <pc:chgData name="Makuch, Monika" userId="5f32b3e3-5b05-4c85-90fd-1c5e60f186a0" providerId="ADAL" clId="{7C1C7CD3-11C6-49C8-8BEE-58DA76DCC744}" dt="2024-03-01T09:40:57.973" v="79" actId="20577"/>
        <pc:sldMkLst>
          <pc:docMk/>
          <pc:sldMk cId="2326664230" sldId="1366"/>
        </pc:sldMkLst>
      </pc:sldChg>
      <pc:sldChg chg="modSp mod modNotesTx">
        <pc:chgData name="Makuch, Monika" userId="5f32b3e3-5b05-4c85-90fd-1c5e60f186a0" providerId="ADAL" clId="{7C1C7CD3-11C6-49C8-8BEE-58DA76DCC744}" dt="2024-03-01T09:40:00.861" v="76" actId="20577"/>
        <pc:sldMkLst>
          <pc:docMk/>
          <pc:sldMk cId="1635322474" sldId="1367"/>
        </pc:sldMkLst>
        <pc:spChg chg="mod">
          <ac:chgData name="Makuch, Monika" userId="5f32b3e3-5b05-4c85-90fd-1c5e60f186a0" providerId="ADAL" clId="{7C1C7CD3-11C6-49C8-8BEE-58DA76DCC744}" dt="2024-03-01T09:40:00.861" v="76" actId="20577"/>
          <ac:spMkLst>
            <pc:docMk/>
            <pc:sldMk cId="1635322474" sldId="1367"/>
            <ac:spMk id="10" creationId="{3C5047D1-7D81-5C08-F59E-DB1DEAF16D5B}"/>
          </ac:spMkLst>
        </pc:spChg>
      </pc:sldChg>
    </pc:docChg>
  </pc:docChgLst>
  <pc:docChgLst>
    <pc:chgData name="Korneta, Iga" userId="S::iga.korneta@accenture.com::5bb3f265-4f39-4daa-912c-5caa86b505fb" providerId="AD" clId="Web-{6F53343F-6BE4-0A10-6868-14C11BD72DF3}"/>
    <pc:docChg chg="modSld">
      <pc:chgData name="Korneta, Iga" userId="S::iga.korneta@accenture.com::5bb3f265-4f39-4daa-912c-5caa86b505fb" providerId="AD" clId="Web-{6F53343F-6BE4-0A10-6868-14C11BD72DF3}" dt="2024-03-22T09:48:17.479" v="2" actId="20577"/>
      <pc:docMkLst>
        <pc:docMk/>
      </pc:docMkLst>
      <pc:sldChg chg="modSp">
        <pc:chgData name="Korneta, Iga" userId="S::iga.korneta@accenture.com::5bb3f265-4f39-4daa-912c-5caa86b505fb" providerId="AD" clId="Web-{6F53343F-6BE4-0A10-6868-14C11BD72DF3}" dt="2024-03-22T09:48:17.479" v="2" actId="20577"/>
        <pc:sldMkLst>
          <pc:docMk/>
          <pc:sldMk cId="282247140" sldId="1363"/>
        </pc:sldMkLst>
        <pc:spChg chg="mod">
          <ac:chgData name="Korneta, Iga" userId="S::iga.korneta@accenture.com::5bb3f265-4f39-4daa-912c-5caa86b505fb" providerId="AD" clId="Web-{6F53343F-6BE4-0A10-6868-14C11BD72DF3}" dt="2024-03-22T09:48:17.479" v="2" actId="20577"/>
          <ac:spMkLst>
            <pc:docMk/>
            <pc:sldMk cId="282247140" sldId="1363"/>
            <ac:spMk id="10" creationId="{F538107F-65D0-6F34-3C3B-5A87C3C26470}"/>
          </ac:spMkLst>
        </pc:spChg>
      </pc:sldChg>
    </pc:docChg>
  </pc:docChgLst>
  <pc:docChgLst>
    <pc:chgData name="Pruchnicki, Marcin" userId="13b4f2f6-3869-479e-8e4b-3ca75520da77" providerId="ADAL" clId="{3102939B-68E9-41E0-8156-9C0ED2AB1951}"/>
    <pc:docChg chg="custSel addSld modSld">
      <pc:chgData name="Pruchnicki, Marcin" userId="13b4f2f6-3869-479e-8e4b-3ca75520da77" providerId="ADAL" clId="{3102939B-68E9-41E0-8156-9C0ED2AB1951}" dt="2023-10-27T07:35:07.929" v="1" actId="478"/>
      <pc:docMkLst>
        <pc:docMk/>
      </pc:docMkLst>
      <pc:sldChg chg="delSp add mod">
        <pc:chgData name="Pruchnicki, Marcin" userId="13b4f2f6-3869-479e-8e4b-3ca75520da77" providerId="ADAL" clId="{3102939B-68E9-41E0-8156-9C0ED2AB1951}" dt="2023-10-27T07:35:07.929" v="1" actId="478"/>
        <pc:sldMkLst>
          <pc:docMk/>
          <pc:sldMk cId="628719752" sldId="1353"/>
        </pc:sldMkLst>
        <pc:spChg chg="del">
          <ac:chgData name="Pruchnicki, Marcin" userId="13b4f2f6-3869-479e-8e4b-3ca75520da77" providerId="ADAL" clId="{3102939B-68E9-41E0-8156-9C0ED2AB1951}" dt="2023-10-27T07:35:07.929" v="1" actId="478"/>
          <ac:spMkLst>
            <pc:docMk/>
            <pc:sldMk cId="628719752" sldId="1353"/>
            <ac:spMk id="11" creationId="{93499DFB-EACC-0CDB-5096-B712398C831E}"/>
          </ac:spMkLst>
        </pc:spChg>
      </pc:sldChg>
    </pc:docChg>
  </pc:docChgLst>
  <pc:docChgLst>
    <pc:chgData name="IZDEBSKI, MATEUSZ" userId="df492d3f-610c-48c4-9c89-cfd3844ebef0" providerId="ADAL" clId="{AE3FB52B-0D18-44B8-A196-2047F2ED64FD}"/>
    <pc:docChg chg="undo custSel modSld sldOrd">
      <pc:chgData name="IZDEBSKI, MATEUSZ" userId="df492d3f-610c-48c4-9c89-cfd3844ebef0" providerId="ADAL" clId="{AE3FB52B-0D18-44B8-A196-2047F2ED64FD}" dt="2024-03-21T11:38:53.640" v="527" actId="20577"/>
      <pc:docMkLst>
        <pc:docMk/>
      </pc:docMkLst>
      <pc:sldChg chg="ord">
        <pc:chgData name="IZDEBSKI, MATEUSZ" userId="df492d3f-610c-48c4-9c89-cfd3844ebef0" providerId="ADAL" clId="{AE3FB52B-0D18-44B8-A196-2047F2ED64FD}" dt="2024-03-01T16:25:29.781" v="0"/>
        <pc:sldMkLst>
          <pc:docMk/>
          <pc:sldMk cId="3953439156" sldId="1218"/>
        </pc:sldMkLst>
      </pc:sldChg>
      <pc:sldChg chg="ord">
        <pc:chgData name="IZDEBSKI, MATEUSZ" userId="df492d3f-610c-48c4-9c89-cfd3844ebef0" providerId="ADAL" clId="{AE3FB52B-0D18-44B8-A196-2047F2ED64FD}" dt="2024-03-01T16:25:33.882" v="2"/>
        <pc:sldMkLst>
          <pc:docMk/>
          <pc:sldMk cId="2838923465" sldId="1219"/>
        </pc:sldMkLst>
      </pc:sldChg>
      <pc:sldChg chg="modSp mod">
        <pc:chgData name="IZDEBSKI, MATEUSZ" userId="df492d3f-610c-48c4-9c89-cfd3844ebef0" providerId="ADAL" clId="{AE3FB52B-0D18-44B8-A196-2047F2ED64FD}" dt="2024-03-19T12:04:59.987" v="523" actId="27636"/>
        <pc:sldMkLst>
          <pc:docMk/>
          <pc:sldMk cId="3706624102" sldId="1322"/>
        </pc:sldMkLst>
        <pc:spChg chg="mod">
          <ac:chgData name="IZDEBSKI, MATEUSZ" userId="df492d3f-610c-48c4-9c89-cfd3844ebef0" providerId="ADAL" clId="{AE3FB52B-0D18-44B8-A196-2047F2ED64FD}" dt="2024-03-19T12:04:59.987" v="523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IZDEBSKI, MATEUSZ" userId="df492d3f-610c-48c4-9c89-cfd3844ebef0" providerId="ADAL" clId="{AE3FB52B-0D18-44B8-A196-2047F2ED64FD}" dt="2024-03-19T12:05:00.018" v="526" actId="27636"/>
        <pc:sldMkLst>
          <pc:docMk/>
          <pc:sldMk cId="3967085744" sldId="1347"/>
        </pc:sldMkLst>
        <pc:spChg chg="mod">
          <ac:chgData name="IZDEBSKI, MATEUSZ" userId="df492d3f-610c-48c4-9c89-cfd3844ebef0" providerId="ADAL" clId="{AE3FB52B-0D18-44B8-A196-2047F2ED64FD}" dt="2024-03-19T12:05:00.018" v="525" actId="27636"/>
          <ac:spMkLst>
            <pc:docMk/>
            <pc:sldMk cId="3967085744" sldId="1347"/>
            <ac:spMk id="2" creationId="{907A6792-CD02-599B-4146-7772C73B01E3}"/>
          </ac:spMkLst>
        </pc:spChg>
        <pc:spChg chg="mod">
          <ac:chgData name="IZDEBSKI, MATEUSZ" userId="df492d3f-610c-48c4-9c89-cfd3844ebef0" providerId="ADAL" clId="{AE3FB52B-0D18-44B8-A196-2047F2ED64FD}" dt="2024-03-19T12:05:00.018" v="526" actId="27636"/>
          <ac:spMkLst>
            <pc:docMk/>
            <pc:sldMk cId="3967085744" sldId="1347"/>
            <ac:spMk id="7" creationId="{83D1AB77-327B-D8C5-CF7B-688095FA023A}"/>
          </ac:spMkLst>
        </pc:spChg>
      </pc:sldChg>
      <pc:sldChg chg="modSp mod">
        <pc:chgData name="IZDEBSKI, MATEUSZ" userId="df492d3f-610c-48c4-9c89-cfd3844ebef0" providerId="ADAL" clId="{AE3FB52B-0D18-44B8-A196-2047F2ED64FD}" dt="2024-03-19T12:05:00.010" v="524" actId="27636"/>
        <pc:sldMkLst>
          <pc:docMk/>
          <pc:sldMk cId="1949626962" sldId="1349"/>
        </pc:sldMkLst>
        <pc:spChg chg="mod">
          <ac:chgData name="IZDEBSKI, MATEUSZ" userId="df492d3f-610c-48c4-9c89-cfd3844ebef0" providerId="ADAL" clId="{AE3FB52B-0D18-44B8-A196-2047F2ED64FD}" dt="2024-03-19T12:05:00.010" v="524" actId="27636"/>
          <ac:spMkLst>
            <pc:docMk/>
            <pc:sldMk cId="1949626962" sldId="1349"/>
            <ac:spMk id="2" creationId="{907A6792-CD02-599B-4146-7772C73B01E3}"/>
          </ac:spMkLst>
        </pc:spChg>
      </pc:sldChg>
      <pc:sldChg chg="modSp mod">
        <pc:chgData name="IZDEBSKI, MATEUSZ" userId="df492d3f-610c-48c4-9c89-cfd3844ebef0" providerId="ADAL" clId="{AE3FB52B-0D18-44B8-A196-2047F2ED64FD}" dt="2024-03-19T12:04:59.971" v="522" actId="27636"/>
        <pc:sldMkLst>
          <pc:docMk/>
          <pc:sldMk cId="628719752" sldId="1353"/>
        </pc:sldMkLst>
        <pc:spChg chg="mod">
          <ac:chgData name="IZDEBSKI, MATEUSZ" userId="df492d3f-610c-48c4-9c89-cfd3844ebef0" providerId="ADAL" clId="{AE3FB52B-0D18-44B8-A196-2047F2ED64FD}" dt="2024-03-19T12:04:59.971" v="522" actId="27636"/>
          <ac:spMkLst>
            <pc:docMk/>
            <pc:sldMk cId="628719752" sldId="1353"/>
            <ac:spMk id="7" creationId="{83D1AB77-327B-D8C5-CF7B-688095FA023A}"/>
          </ac:spMkLst>
        </pc:spChg>
      </pc:sldChg>
      <pc:sldChg chg="modSp mod">
        <pc:chgData name="IZDEBSKI, MATEUSZ" userId="df492d3f-610c-48c4-9c89-cfd3844ebef0" providerId="ADAL" clId="{AE3FB52B-0D18-44B8-A196-2047F2ED64FD}" dt="2024-03-21T11:38:53.640" v="527" actId="20577"/>
        <pc:sldMkLst>
          <pc:docMk/>
          <pc:sldMk cId="2326664230" sldId="1366"/>
        </pc:sldMkLst>
        <pc:spChg chg="mod">
          <ac:chgData name="IZDEBSKI, MATEUSZ" userId="df492d3f-610c-48c4-9c89-cfd3844ebef0" providerId="ADAL" clId="{AE3FB52B-0D18-44B8-A196-2047F2ED64FD}" dt="2024-03-11T14:25:41.382" v="429" actId="20577"/>
          <ac:spMkLst>
            <pc:docMk/>
            <pc:sldMk cId="2326664230" sldId="1366"/>
            <ac:spMk id="2" creationId="{B1B30B32-CD37-0E04-C6E3-83A31BB57983}"/>
          </ac:spMkLst>
        </pc:spChg>
        <pc:spChg chg="mod">
          <ac:chgData name="IZDEBSKI, MATEUSZ" userId="df492d3f-610c-48c4-9c89-cfd3844ebef0" providerId="ADAL" clId="{AE3FB52B-0D18-44B8-A196-2047F2ED64FD}" dt="2024-03-12T09:04:33.651" v="476" actId="20577"/>
          <ac:spMkLst>
            <pc:docMk/>
            <pc:sldMk cId="2326664230" sldId="1366"/>
            <ac:spMk id="7" creationId="{B4F12F25-F5B8-1D4F-D9E8-1A52C10C0EA3}"/>
          </ac:spMkLst>
        </pc:spChg>
        <pc:spChg chg="mod">
          <ac:chgData name="IZDEBSKI, MATEUSZ" userId="df492d3f-610c-48c4-9c89-cfd3844ebef0" providerId="ADAL" clId="{AE3FB52B-0D18-44B8-A196-2047F2ED64FD}" dt="2024-03-11T14:36:40.215" v="466" actId="12"/>
          <ac:spMkLst>
            <pc:docMk/>
            <pc:sldMk cId="2326664230" sldId="1366"/>
            <ac:spMk id="8" creationId="{37C82AA2-F4DC-10F4-AB52-8FC1F24EB6E2}"/>
          </ac:spMkLst>
        </pc:spChg>
        <pc:spChg chg="mod">
          <ac:chgData name="IZDEBSKI, MATEUSZ" userId="df492d3f-610c-48c4-9c89-cfd3844ebef0" providerId="ADAL" clId="{AE3FB52B-0D18-44B8-A196-2047F2ED64FD}" dt="2024-03-21T11:38:53.640" v="527" actId="20577"/>
          <ac:spMkLst>
            <pc:docMk/>
            <pc:sldMk cId="2326664230" sldId="1366"/>
            <ac:spMk id="10" creationId="{92312F48-4315-33D6-19FE-C7D670F14066}"/>
          </ac:spMkLst>
        </pc:spChg>
      </pc:sldChg>
    </pc:docChg>
  </pc:docChgLst>
  <pc:docChgLst>
    <pc:chgData name="Paczusko, Jakub" userId="fa3848df-111d-4f94-8ca7-e12e994db4b9" providerId="ADAL" clId="{BBD94658-006D-4D2B-B047-30716B17B492}"/>
    <pc:docChg chg="undo redo custSel modSld">
      <pc:chgData name="Paczusko, Jakub" userId="fa3848df-111d-4f94-8ca7-e12e994db4b9" providerId="ADAL" clId="{BBD94658-006D-4D2B-B047-30716B17B492}" dt="2024-03-04T13:56:19.578" v="30" actId="20577"/>
      <pc:docMkLst>
        <pc:docMk/>
      </pc:docMkLst>
      <pc:sldChg chg="modSp mod">
        <pc:chgData name="Paczusko, Jakub" userId="fa3848df-111d-4f94-8ca7-e12e994db4b9" providerId="ADAL" clId="{BBD94658-006D-4D2B-B047-30716B17B492}" dt="2024-03-04T13:56:19.578" v="30" actId="20577"/>
        <pc:sldMkLst>
          <pc:docMk/>
          <pc:sldMk cId="3967085744" sldId="1347"/>
        </pc:sldMkLst>
        <pc:spChg chg="mod">
          <ac:chgData name="Paczusko, Jakub" userId="fa3848df-111d-4f94-8ca7-e12e994db4b9" providerId="ADAL" clId="{BBD94658-006D-4D2B-B047-30716B17B492}" dt="2024-03-04T13:56:19.578" v="30" actId="20577"/>
          <ac:spMkLst>
            <pc:docMk/>
            <pc:sldMk cId="3967085744" sldId="1347"/>
            <ac:spMk id="8" creationId="{9CFFF608-5DCB-85A5-D2CF-77199B9A17D9}"/>
          </ac:spMkLst>
        </pc:spChg>
        <pc:spChg chg="mod">
          <ac:chgData name="Paczusko, Jakub" userId="fa3848df-111d-4f94-8ca7-e12e994db4b9" providerId="ADAL" clId="{BBD94658-006D-4D2B-B047-30716B17B492}" dt="2024-03-04T13:56:14.372" v="20"/>
          <ac:spMkLst>
            <pc:docMk/>
            <pc:sldMk cId="3967085744" sldId="1347"/>
            <ac:spMk id="10" creationId="{2ADC3B6D-1669-0947-4FE2-FA2ED3B54A80}"/>
          </ac:spMkLst>
        </pc:spChg>
      </pc:sldChg>
    </pc:docChg>
  </pc:docChgLst>
  <pc:docChgLst>
    <pc:chgData name="Smaga, Tomasz" userId="12fc1883-96d9-40ae-b28b-1114c7e6d083" providerId="ADAL" clId="{87B54F5C-BEF6-4887-8C18-C187F72769DE}"/>
    <pc:docChg chg="modSld">
      <pc:chgData name="Smaga, Tomasz" userId="12fc1883-96d9-40ae-b28b-1114c7e6d083" providerId="ADAL" clId="{87B54F5C-BEF6-4887-8C18-C187F72769DE}" dt="2023-10-30T12:15:02.042" v="23"/>
      <pc:docMkLst>
        <pc:docMk/>
      </pc:docMkLst>
      <pc:sldChg chg="modSp mod">
        <pc:chgData name="Smaga, Tomasz" userId="12fc1883-96d9-40ae-b28b-1114c7e6d083" providerId="ADAL" clId="{87B54F5C-BEF6-4887-8C18-C187F72769DE}" dt="2023-10-30T12:15:02.042" v="23"/>
        <pc:sldMkLst>
          <pc:docMk/>
          <pc:sldMk cId="4110471149" sldId="1354"/>
        </pc:sldMkLst>
        <pc:spChg chg="mod">
          <ac:chgData name="Smaga, Tomasz" userId="12fc1883-96d9-40ae-b28b-1114c7e6d083" providerId="ADAL" clId="{87B54F5C-BEF6-4887-8C18-C187F72769DE}" dt="2023-10-30T12:15:02.042" v="23"/>
          <ac:spMkLst>
            <pc:docMk/>
            <pc:sldMk cId="4110471149" sldId="1354"/>
            <ac:spMk id="10" creationId="{6544F642-4FD7-D49B-CDFE-2E39F605B09B}"/>
          </ac:spMkLst>
        </pc:spChg>
      </pc:sldChg>
    </pc:docChg>
  </pc:docChgLst>
  <pc:docChgLst>
    <pc:chgData name="Szajowski, Piotr" userId="9f4cb6ca-86e9-492e-b54f-13fd72b8b3f5" providerId="ADAL" clId="{F53B4F16-4A15-4F25-8BAE-C69512EF9D7C}"/>
    <pc:docChg chg="modSld sldOrd">
      <pc:chgData name="Szajowski, Piotr" userId="9f4cb6ca-86e9-492e-b54f-13fd72b8b3f5" providerId="ADAL" clId="{F53B4F16-4A15-4F25-8BAE-C69512EF9D7C}" dt="2023-12-11T13:09:13.540" v="88" actId="404"/>
      <pc:docMkLst>
        <pc:docMk/>
      </pc:docMkLst>
      <pc:sldChg chg="modSp mod ord">
        <pc:chgData name="Szajowski, Piotr" userId="9f4cb6ca-86e9-492e-b54f-13fd72b8b3f5" providerId="ADAL" clId="{F53B4F16-4A15-4F25-8BAE-C69512EF9D7C}" dt="2023-12-11T13:09:13.540" v="88" actId="404"/>
        <pc:sldMkLst>
          <pc:docMk/>
          <pc:sldMk cId="2661039463" sldId="1345"/>
        </pc:sldMkLst>
        <pc:spChg chg="mod">
          <ac:chgData name="Szajowski, Piotr" userId="9f4cb6ca-86e9-492e-b54f-13fd72b8b3f5" providerId="ADAL" clId="{F53B4F16-4A15-4F25-8BAE-C69512EF9D7C}" dt="2023-12-11T13:09:13.540" v="88" actId="404"/>
          <ac:spMkLst>
            <pc:docMk/>
            <pc:sldMk cId="2661039463" sldId="1345"/>
            <ac:spMk id="10" creationId="{68D47195-2257-27FD-9554-F23924FA4345}"/>
          </ac:spMkLst>
        </pc:spChg>
      </pc:sldChg>
    </pc:docChg>
  </pc:docChgLst>
  <pc:docChgLst>
    <pc:chgData name="Jasek, Mariusz" userId="c6e5a964-643c-47e9-a565-c46783867bc0" providerId="ADAL" clId="{72EFD7C2-2068-4D4A-9414-84FE7B091DD9}"/>
    <pc:docChg chg="custSel modSld">
      <pc:chgData name="Jasek, Mariusz" userId="c6e5a964-643c-47e9-a565-c46783867bc0" providerId="ADAL" clId="{72EFD7C2-2068-4D4A-9414-84FE7B091DD9}" dt="2024-03-20T08:11:33.939" v="5" actId="6549"/>
      <pc:docMkLst>
        <pc:docMk/>
      </pc:docMkLst>
      <pc:sldChg chg="modSp mod">
        <pc:chgData name="Jasek, Mariusz" userId="c6e5a964-643c-47e9-a565-c46783867bc0" providerId="ADAL" clId="{72EFD7C2-2068-4D4A-9414-84FE7B091DD9}" dt="2024-03-20T08:11:33.939" v="5" actId="6549"/>
        <pc:sldMkLst>
          <pc:docMk/>
          <pc:sldMk cId="2582210976" sldId="1254"/>
        </pc:sldMkLst>
        <pc:spChg chg="mod">
          <ac:chgData name="Jasek, Mariusz" userId="c6e5a964-643c-47e9-a565-c46783867bc0" providerId="ADAL" clId="{72EFD7C2-2068-4D4A-9414-84FE7B091DD9}" dt="2024-03-20T08:11:33.939" v="5" actId="6549"/>
          <ac:spMkLst>
            <pc:docMk/>
            <pc:sldMk cId="2582210976" sldId="1254"/>
            <ac:spMk id="10" creationId="{68D47195-2257-27FD-9554-F23924FA4345}"/>
          </ac:spMkLst>
        </pc:spChg>
      </pc:sldChg>
      <pc:sldChg chg="modSp mod">
        <pc:chgData name="Jasek, Mariusz" userId="c6e5a964-643c-47e9-a565-c46783867bc0" providerId="ADAL" clId="{72EFD7C2-2068-4D4A-9414-84FE7B091DD9}" dt="2024-03-20T08:07:57.269" v="1" actId="27636"/>
        <pc:sldMkLst>
          <pc:docMk/>
          <pc:sldMk cId="3706624102" sldId="1322"/>
        </pc:sldMkLst>
        <pc:spChg chg="mod">
          <ac:chgData name="Jasek, Mariusz" userId="c6e5a964-643c-47e9-a565-c46783867bc0" providerId="ADAL" clId="{72EFD7C2-2068-4D4A-9414-84FE7B091DD9}" dt="2024-03-20T08:07:57.269" v="1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Jasek, Mariusz" userId="c6e5a964-643c-47e9-a565-c46783867bc0" providerId="ADAL" clId="{72EFD7C2-2068-4D4A-9414-84FE7B091DD9}" dt="2024-03-20T08:07:57.338" v="4" actId="27636"/>
        <pc:sldMkLst>
          <pc:docMk/>
          <pc:sldMk cId="3967085744" sldId="1347"/>
        </pc:sldMkLst>
        <pc:spChg chg="mod">
          <ac:chgData name="Jasek, Mariusz" userId="c6e5a964-643c-47e9-a565-c46783867bc0" providerId="ADAL" clId="{72EFD7C2-2068-4D4A-9414-84FE7B091DD9}" dt="2024-03-20T08:07:57.336" v="3" actId="27636"/>
          <ac:spMkLst>
            <pc:docMk/>
            <pc:sldMk cId="3967085744" sldId="1347"/>
            <ac:spMk id="2" creationId="{907A6792-CD02-599B-4146-7772C73B01E3}"/>
          </ac:spMkLst>
        </pc:spChg>
        <pc:spChg chg="mod">
          <ac:chgData name="Jasek, Mariusz" userId="c6e5a964-643c-47e9-a565-c46783867bc0" providerId="ADAL" clId="{72EFD7C2-2068-4D4A-9414-84FE7B091DD9}" dt="2024-03-20T08:07:57.338" v="4" actId="27636"/>
          <ac:spMkLst>
            <pc:docMk/>
            <pc:sldMk cId="3967085744" sldId="1347"/>
            <ac:spMk id="7" creationId="{83D1AB77-327B-D8C5-CF7B-688095FA023A}"/>
          </ac:spMkLst>
        </pc:spChg>
      </pc:sldChg>
      <pc:sldChg chg="modSp mod">
        <pc:chgData name="Jasek, Mariusz" userId="c6e5a964-643c-47e9-a565-c46783867bc0" providerId="ADAL" clId="{72EFD7C2-2068-4D4A-9414-84FE7B091DD9}" dt="2024-03-20T08:07:57.324" v="2" actId="27636"/>
        <pc:sldMkLst>
          <pc:docMk/>
          <pc:sldMk cId="1949626962" sldId="1349"/>
        </pc:sldMkLst>
        <pc:spChg chg="mod">
          <ac:chgData name="Jasek, Mariusz" userId="c6e5a964-643c-47e9-a565-c46783867bc0" providerId="ADAL" clId="{72EFD7C2-2068-4D4A-9414-84FE7B091DD9}" dt="2024-03-20T08:07:57.324" v="2" actId="27636"/>
          <ac:spMkLst>
            <pc:docMk/>
            <pc:sldMk cId="1949626962" sldId="1349"/>
            <ac:spMk id="2" creationId="{907A6792-CD02-599B-4146-7772C73B01E3}"/>
          </ac:spMkLst>
        </pc:spChg>
      </pc:sldChg>
      <pc:sldChg chg="modSp mod">
        <pc:chgData name="Jasek, Mariusz" userId="c6e5a964-643c-47e9-a565-c46783867bc0" providerId="ADAL" clId="{72EFD7C2-2068-4D4A-9414-84FE7B091DD9}" dt="2024-03-20T08:07:57.236" v="0" actId="27636"/>
        <pc:sldMkLst>
          <pc:docMk/>
          <pc:sldMk cId="628719752" sldId="1353"/>
        </pc:sldMkLst>
        <pc:spChg chg="mod">
          <ac:chgData name="Jasek, Mariusz" userId="c6e5a964-643c-47e9-a565-c46783867bc0" providerId="ADAL" clId="{72EFD7C2-2068-4D4A-9414-84FE7B091DD9}" dt="2024-03-20T08:07:57.236" v="0" actId="27636"/>
          <ac:spMkLst>
            <pc:docMk/>
            <pc:sldMk cId="628719752" sldId="1353"/>
            <ac:spMk id="7" creationId="{83D1AB77-327B-D8C5-CF7B-688095FA023A}"/>
          </ac:spMkLst>
        </pc:spChg>
      </pc:sldChg>
    </pc:docChg>
  </pc:docChgLst>
  <pc:docChgLst>
    <pc:chgData name="Drozynska, Anna" userId="6552a0e7-1123-4311-af44-05d689e21c2c" providerId="ADAL" clId="{40BB56EA-5AE8-4446-8BBC-6BCFF3D5860C}"/>
    <pc:docChg chg="undo redo custSel modSld">
      <pc:chgData name="Drozynska, Anna" userId="6552a0e7-1123-4311-af44-05d689e21c2c" providerId="ADAL" clId="{40BB56EA-5AE8-4446-8BBC-6BCFF3D5860C}" dt="2024-01-09T13:36:44.396" v="639" actId="20577"/>
      <pc:docMkLst>
        <pc:docMk/>
      </pc:docMkLst>
      <pc:sldChg chg="modSp mod">
        <pc:chgData name="Drozynska, Anna" userId="6552a0e7-1123-4311-af44-05d689e21c2c" providerId="ADAL" clId="{40BB56EA-5AE8-4446-8BBC-6BCFF3D5860C}" dt="2023-12-14T16:32:30.234" v="636" actId="1035"/>
        <pc:sldMkLst>
          <pc:docMk/>
          <pc:sldMk cId="3323270304" sldId="1234"/>
        </pc:sldMkLst>
        <pc:spChg chg="mod">
          <ac:chgData name="Drozynska, Anna" userId="6552a0e7-1123-4311-af44-05d689e21c2c" providerId="ADAL" clId="{40BB56EA-5AE8-4446-8BBC-6BCFF3D5860C}" dt="2023-12-14T16:32:30.234" v="636" actId="1035"/>
          <ac:spMkLst>
            <pc:docMk/>
            <pc:sldMk cId="3323270304" sldId="1234"/>
            <ac:spMk id="8" creationId="{21B27FAC-F4D8-14FA-E816-E0F5A6718CC9}"/>
          </ac:spMkLst>
        </pc:spChg>
        <pc:spChg chg="mod">
          <ac:chgData name="Drozynska, Anna" userId="6552a0e7-1123-4311-af44-05d689e21c2c" providerId="ADAL" clId="{40BB56EA-5AE8-4446-8BBC-6BCFF3D5860C}" dt="2023-12-14T16:32:07.335" v="633" actId="6549"/>
          <ac:spMkLst>
            <pc:docMk/>
            <pc:sldMk cId="3323270304" sldId="1234"/>
            <ac:spMk id="10" creationId="{6544F642-4FD7-D49B-CDFE-2E39F605B09B}"/>
          </ac:spMkLst>
        </pc:spChg>
      </pc:sldChg>
      <pc:sldChg chg="modSp mod">
        <pc:chgData name="Drozynska, Anna" userId="6552a0e7-1123-4311-af44-05d689e21c2c" providerId="ADAL" clId="{40BB56EA-5AE8-4446-8BBC-6BCFF3D5860C}" dt="2024-01-09T13:36:44.396" v="639" actId="20577"/>
        <pc:sldMkLst>
          <pc:docMk/>
          <pc:sldMk cId="1949626962" sldId="1349"/>
        </pc:sldMkLst>
        <pc:spChg chg="mod">
          <ac:chgData name="Drozynska, Anna" userId="6552a0e7-1123-4311-af44-05d689e21c2c" providerId="ADAL" clId="{40BB56EA-5AE8-4446-8BBC-6BCFF3D5860C}" dt="2024-01-09T13:36:44.396" v="639" actId="20577"/>
          <ac:spMkLst>
            <pc:docMk/>
            <pc:sldMk cId="1949626962" sldId="1349"/>
            <ac:spMk id="2" creationId="{907A6792-CD02-599B-4146-7772C73B01E3}"/>
          </ac:spMkLst>
        </pc:spChg>
      </pc:sldChg>
    </pc:docChg>
  </pc:docChgLst>
  <pc:docChgLst>
    <pc:chgData name="Kubica, Katarzyna" userId="S::katarzyna.kubica@accenture.com::a3f66e9f-d582-43c5-b1b3-2d7f388edb4d" providerId="AD" clId="Web-{9318FA10-ECF4-4D50-A612-18483E7115B6}"/>
    <pc:docChg chg="modSld">
      <pc:chgData name="Kubica, Katarzyna" userId="S::katarzyna.kubica@accenture.com::a3f66e9f-d582-43c5-b1b3-2d7f388edb4d" providerId="AD" clId="Web-{9318FA10-ECF4-4D50-A612-18483E7115B6}" dt="2024-03-15T09:18:31.092" v="106" actId="20577"/>
      <pc:docMkLst>
        <pc:docMk/>
      </pc:docMkLst>
      <pc:sldChg chg="modSp">
        <pc:chgData name="Kubica, Katarzyna" userId="S::katarzyna.kubica@accenture.com::a3f66e9f-d582-43c5-b1b3-2d7f388edb4d" providerId="AD" clId="Web-{9318FA10-ECF4-4D50-A612-18483E7115B6}" dt="2024-03-15T09:18:31.092" v="106" actId="20577"/>
        <pc:sldMkLst>
          <pc:docMk/>
          <pc:sldMk cId="415718272" sldId="1239"/>
        </pc:sldMkLst>
        <pc:spChg chg="mod">
          <ac:chgData name="Kubica, Katarzyna" userId="S::katarzyna.kubica@accenture.com::a3f66e9f-d582-43c5-b1b3-2d7f388edb4d" providerId="AD" clId="Web-{9318FA10-ECF4-4D50-A612-18483E7115B6}" dt="2024-03-15T09:18:31.092" v="106" actId="20577"/>
          <ac:spMkLst>
            <pc:docMk/>
            <pc:sldMk cId="415718272" sldId="1239"/>
            <ac:spMk id="8" creationId="{21B27FAC-F4D8-14FA-E816-E0F5A6718CC9}"/>
          </ac:spMkLst>
        </pc:spChg>
      </pc:sldChg>
    </pc:docChg>
  </pc:docChgLst>
  <pc:docChgLst>
    <pc:chgData name="Zuk, Barbara" userId="S::barbara.zuk@accenture.com::74397353-13d5-4bdc-86f2-f5be8bd13842" providerId="AD" clId="Web-{993CB01C-55AE-FE18-715D-5F33998BE36B}"/>
    <pc:docChg chg="addSld modSld sldOrd modSection">
      <pc:chgData name="Zuk, Barbara" userId="S::barbara.zuk@accenture.com::74397353-13d5-4bdc-86f2-f5be8bd13842" providerId="AD" clId="Web-{993CB01C-55AE-FE18-715D-5F33998BE36B}" dt="2024-03-22T10:44:53.601" v="186" actId="20577"/>
      <pc:docMkLst>
        <pc:docMk/>
      </pc:docMkLst>
      <pc:sldChg chg="addSp delSp modSp add ord replId modNotes">
        <pc:chgData name="Zuk, Barbara" userId="S::barbara.zuk@accenture.com::74397353-13d5-4bdc-86f2-f5be8bd13842" providerId="AD" clId="Web-{993CB01C-55AE-FE18-715D-5F33998BE36B}" dt="2024-03-22T10:44:53.601" v="186" actId="20577"/>
        <pc:sldMkLst>
          <pc:docMk/>
          <pc:sldMk cId="2667322831" sldId="1371"/>
        </pc:sldMkLst>
        <pc:spChg chg="mod">
          <ac:chgData name="Zuk, Barbara" userId="S::barbara.zuk@accenture.com::74397353-13d5-4bdc-86f2-f5be8bd13842" providerId="AD" clId="Web-{993CB01C-55AE-FE18-715D-5F33998BE36B}" dt="2024-03-21T13:42:06.473" v="54" actId="20577"/>
          <ac:spMkLst>
            <pc:docMk/>
            <pc:sldMk cId="2667322831" sldId="1371"/>
            <ac:spMk id="2" creationId="{911674FA-AAB1-290E-AC82-CA87E6310AA5}"/>
          </ac:spMkLst>
        </pc:spChg>
        <pc:spChg chg="mod">
          <ac:chgData name="Zuk, Barbara" userId="S::barbara.zuk@accenture.com::74397353-13d5-4bdc-86f2-f5be8bd13842" providerId="AD" clId="Web-{993CB01C-55AE-FE18-715D-5F33998BE36B}" dt="2024-03-21T13:42:38.958" v="61" actId="20577"/>
          <ac:spMkLst>
            <pc:docMk/>
            <pc:sldMk cId="2667322831" sldId="1371"/>
            <ac:spMk id="3" creationId="{24306D85-71DB-A43C-EE9F-A05E2C3B843E}"/>
          </ac:spMkLst>
        </pc:spChg>
        <pc:spChg chg="mod">
          <ac:chgData name="Zuk, Barbara" userId="S::barbara.zuk@accenture.com::74397353-13d5-4bdc-86f2-f5be8bd13842" providerId="AD" clId="Web-{993CB01C-55AE-FE18-715D-5F33998BE36B}" dt="2024-03-21T13:39:17.716" v="23" actId="20577"/>
          <ac:spMkLst>
            <pc:docMk/>
            <pc:sldMk cId="2667322831" sldId="1371"/>
            <ac:spMk id="4" creationId="{6F381516-F3F1-5803-258D-A281CE214469}"/>
          </ac:spMkLst>
        </pc:spChg>
        <pc:spChg chg="mod">
          <ac:chgData name="Zuk, Barbara" userId="S::barbara.zuk@accenture.com::74397353-13d5-4bdc-86f2-f5be8bd13842" providerId="AD" clId="Web-{993CB01C-55AE-FE18-715D-5F33998BE36B}" dt="2024-03-21T13:49:09.723" v="126" actId="20577"/>
          <ac:spMkLst>
            <pc:docMk/>
            <pc:sldMk cId="2667322831" sldId="1371"/>
            <ac:spMk id="7" creationId="{96CAE378-94B4-0269-C4D1-EBD2C607BCC3}"/>
          </ac:spMkLst>
        </pc:spChg>
        <pc:spChg chg="mod">
          <ac:chgData name="Zuk, Barbara" userId="S::barbara.zuk@accenture.com::74397353-13d5-4bdc-86f2-f5be8bd13842" providerId="AD" clId="Web-{993CB01C-55AE-FE18-715D-5F33998BE36B}" dt="2024-03-21T13:50:54.648" v="130" actId="1076"/>
          <ac:spMkLst>
            <pc:docMk/>
            <pc:sldMk cId="2667322831" sldId="1371"/>
            <ac:spMk id="8" creationId="{A9D0EDE1-319C-F7C6-A99B-9FCF1CAD96E2}"/>
          </ac:spMkLst>
        </pc:spChg>
        <pc:spChg chg="mod">
          <ac:chgData name="Zuk, Barbara" userId="S::barbara.zuk@accenture.com::74397353-13d5-4bdc-86f2-f5be8bd13842" providerId="AD" clId="Web-{993CB01C-55AE-FE18-715D-5F33998BE36B}" dt="2024-03-22T10:44:53.601" v="186" actId="20577"/>
          <ac:spMkLst>
            <pc:docMk/>
            <pc:sldMk cId="2667322831" sldId="1371"/>
            <ac:spMk id="10" creationId="{68D47195-2257-27FD-9554-F23924FA4345}"/>
          </ac:spMkLst>
        </pc:spChg>
        <pc:spChg chg="add del mod">
          <ac:chgData name="Zuk, Barbara" userId="S::barbara.zuk@accenture.com::74397353-13d5-4bdc-86f2-f5be8bd13842" providerId="AD" clId="Web-{993CB01C-55AE-FE18-715D-5F33998BE36B}" dt="2024-03-21T13:35:23.708" v="13"/>
          <ac:spMkLst>
            <pc:docMk/>
            <pc:sldMk cId="2667322831" sldId="1371"/>
            <ac:spMk id="11" creationId="{48D27351-0819-9432-CFDB-F0CD9825C845}"/>
          </ac:spMkLst>
        </pc:spChg>
        <pc:picChg chg="add del mod">
          <ac:chgData name="Zuk, Barbara" userId="S::barbara.zuk@accenture.com::74397353-13d5-4bdc-86f2-f5be8bd13842" providerId="AD" clId="Web-{993CB01C-55AE-FE18-715D-5F33998BE36B}" dt="2024-03-21T13:38:44.809" v="15"/>
          <ac:picMkLst>
            <pc:docMk/>
            <pc:sldMk cId="2667322831" sldId="1371"/>
            <ac:picMk id="12" creationId="{993C83E7-041E-840A-DF24-15A95E319168}"/>
          </ac:picMkLst>
        </pc:picChg>
      </pc:sldChg>
    </pc:docChg>
  </pc:docChgLst>
  <pc:docChgLst>
    <pc:chgData name="Kuczak, Tomasz" userId="85a780f3-dce4-4b55-be54-db686ad8418d" providerId="ADAL" clId="{5CEB6EEF-83A1-4F81-B6E5-2DC993363DAF}"/>
    <pc:docChg chg="undo redo custSel addSld delSld modSld modSection">
      <pc:chgData name="Kuczak, Tomasz" userId="85a780f3-dce4-4b55-be54-db686ad8418d" providerId="ADAL" clId="{5CEB6EEF-83A1-4F81-B6E5-2DC993363DAF}" dt="2024-03-18T14:46:31.637" v="4855" actId="14100"/>
      <pc:docMkLst>
        <pc:docMk/>
      </pc:docMkLst>
      <pc:sldChg chg="addSp delSp modSp add mod modNotesTx">
        <pc:chgData name="Kuczak, Tomasz" userId="85a780f3-dce4-4b55-be54-db686ad8418d" providerId="ADAL" clId="{5CEB6EEF-83A1-4F81-B6E5-2DC993363DAF}" dt="2024-02-20T15:17:45.343" v="2137" actId="478"/>
        <pc:sldMkLst>
          <pc:docMk/>
          <pc:sldMk cId="4272818943" sldId="1361"/>
        </pc:sldMkLst>
        <pc:spChg chg="mod">
          <ac:chgData name="Kuczak, Tomasz" userId="85a780f3-dce4-4b55-be54-db686ad8418d" providerId="ADAL" clId="{5CEB6EEF-83A1-4F81-B6E5-2DC993363DAF}" dt="2024-01-12T16:35:06.024" v="1450" actId="20577"/>
          <ac:spMkLst>
            <pc:docMk/>
            <pc:sldMk cId="4272818943" sldId="1361"/>
            <ac:spMk id="2" creationId="{911674FA-AAB1-290E-AC82-CA87E6310AA5}"/>
          </ac:spMkLst>
        </pc:spChg>
        <pc:spChg chg="mod">
          <ac:chgData name="Kuczak, Tomasz" userId="85a780f3-dce4-4b55-be54-db686ad8418d" providerId="ADAL" clId="{5CEB6EEF-83A1-4F81-B6E5-2DC993363DAF}" dt="2024-01-12T16:24:33.027" v="532" actId="20577"/>
          <ac:spMkLst>
            <pc:docMk/>
            <pc:sldMk cId="4272818943" sldId="1361"/>
            <ac:spMk id="3" creationId="{24306D85-71DB-A43C-EE9F-A05E2C3B843E}"/>
          </ac:spMkLst>
        </pc:spChg>
        <pc:spChg chg="mod">
          <ac:chgData name="Kuczak, Tomasz" userId="85a780f3-dce4-4b55-be54-db686ad8418d" providerId="ADAL" clId="{5CEB6EEF-83A1-4F81-B6E5-2DC993363DAF}" dt="2024-01-12T10:44:20.627" v="20" actId="20577"/>
          <ac:spMkLst>
            <pc:docMk/>
            <pc:sldMk cId="4272818943" sldId="1361"/>
            <ac:spMk id="4" creationId="{6F381516-F3F1-5803-258D-A281CE214469}"/>
          </ac:spMkLst>
        </pc:spChg>
        <pc:spChg chg="mod">
          <ac:chgData name="Kuczak, Tomasz" userId="85a780f3-dce4-4b55-be54-db686ad8418d" providerId="ADAL" clId="{5CEB6EEF-83A1-4F81-B6E5-2DC993363DAF}" dt="2024-01-12T10:51:29.354" v="85" actId="20577"/>
          <ac:spMkLst>
            <pc:docMk/>
            <pc:sldMk cId="4272818943" sldId="1361"/>
            <ac:spMk id="5" creationId="{731985F1-A854-FF0C-23C8-8306F6E942BE}"/>
          </ac:spMkLst>
        </pc:spChg>
        <pc:spChg chg="mod">
          <ac:chgData name="Kuczak, Tomasz" userId="85a780f3-dce4-4b55-be54-db686ad8418d" providerId="ADAL" clId="{5CEB6EEF-83A1-4F81-B6E5-2DC993363DAF}" dt="2024-01-12T16:22:47.779" v="257" actId="20577"/>
          <ac:spMkLst>
            <pc:docMk/>
            <pc:sldMk cId="4272818943" sldId="1361"/>
            <ac:spMk id="7" creationId="{96CAE378-94B4-0269-C4D1-EBD2C607BCC3}"/>
          </ac:spMkLst>
        </pc:spChg>
        <pc:spChg chg="mod">
          <ac:chgData name="Kuczak, Tomasz" userId="85a780f3-dce4-4b55-be54-db686ad8418d" providerId="ADAL" clId="{5CEB6EEF-83A1-4F81-B6E5-2DC993363DAF}" dt="2024-01-12T16:23:44.951" v="432" actId="12"/>
          <ac:spMkLst>
            <pc:docMk/>
            <pc:sldMk cId="4272818943" sldId="1361"/>
            <ac:spMk id="8" creationId="{A9D0EDE1-319C-F7C6-A99B-9FCF1CAD96E2}"/>
          </ac:spMkLst>
        </pc:spChg>
        <pc:spChg chg="mod">
          <ac:chgData name="Kuczak, Tomasz" userId="85a780f3-dce4-4b55-be54-db686ad8418d" providerId="ADAL" clId="{5CEB6EEF-83A1-4F81-B6E5-2DC993363DAF}" dt="2024-01-12T10:44:27.521" v="22" actId="20577"/>
          <ac:spMkLst>
            <pc:docMk/>
            <pc:sldMk cId="4272818943" sldId="1361"/>
            <ac:spMk id="9" creationId="{698ADF03-8FE6-EE63-15FA-BCDD7A6C1908}"/>
          </ac:spMkLst>
        </pc:spChg>
        <pc:spChg chg="mod">
          <ac:chgData name="Kuczak, Tomasz" userId="85a780f3-dce4-4b55-be54-db686ad8418d" providerId="ADAL" clId="{5CEB6EEF-83A1-4F81-B6E5-2DC993363DAF}" dt="2024-02-13T08:30:15.616" v="2136" actId="20577"/>
          <ac:spMkLst>
            <pc:docMk/>
            <pc:sldMk cId="4272818943" sldId="1361"/>
            <ac:spMk id="10" creationId="{68D47195-2257-27FD-9554-F23924FA4345}"/>
          </ac:spMkLst>
        </pc:spChg>
        <pc:spChg chg="add del mod">
          <ac:chgData name="Kuczak, Tomasz" userId="85a780f3-dce4-4b55-be54-db686ad8418d" providerId="ADAL" clId="{5CEB6EEF-83A1-4F81-B6E5-2DC993363DAF}" dt="2024-02-20T15:17:45.343" v="2137" actId="478"/>
          <ac:spMkLst>
            <pc:docMk/>
            <pc:sldMk cId="4272818943" sldId="1361"/>
            <ac:spMk id="14" creationId="{95008791-6597-DB04-8FBC-1C60ECB3B5F1}"/>
          </ac:spMkLst>
        </pc:spChg>
        <pc:spChg chg="add del">
          <ac:chgData name="Kuczak, Tomasz" userId="85a780f3-dce4-4b55-be54-db686ad8418d" providerId="ADAL" clId="{5CEB6EEF-83A1-4F81-B6E5-2DC993363DAF}" dt="2024-01-12T10:47:49.024" v="45" actId="931"/>
          <ac:spMkLst>
            <pc:docMk/>
            <pc:sldMk cId="4272818943" sldId="1361"/>
            <ac:spMk id="28" creationId="{39D9F7BB-1453-4D7E-B9E9-88542B123007}"/>
          </ac:spMkLst>
        </pc:spChg>
        <pc:picChg chg="add del mod">
          <ac:chgData name="Kuczak, Tomasz" userId="85a780f3-dce4-4b55-be54-db686ad8418d" providerId="ADAL" clId="{5CEB6EEF-83A1-4F81-B6E5-2DC993363DAF}" dt="2024-01-12T10:47:48.544" v="43" actId="21"/>
          <ac:picMkLst>
            <pc:docMk/>
            <pc:sldMk cId="4272818943" sldId="1361"/>
            <ac:picMk id="11" creationId="{6C9E50FB-0D3C-FD50-E293-EEEF203BE87C}"/>
          </ac:picMkLst>
        </pc:picChg>
        <pc:picChg chg="add del mod modCrop">
          <ac:chgData name="Kuczak, Tomasz" userId="85a780f3-dce4-4b55-be54-db686ad8418d" providerId="ADAL" clId="{5CEB6EEF-83A1-4F81-B6E5-2DC993363DAF}" dt="2024-01-12T10:51:03.626" v="64" actId="14100"/>
          <ac:picMkLst>
            <pc:docMk/>
            <pc:sldMk cId="4272818943" sldId="1361"/>
            <ac:picMk id="13" creationId="{F5829463-7C9E-55FB-A5A8-A362DBC78E32}"/>
          </ac:picMkLst>
        </pc:picChg>
        <pc:picChg chg="del">
          <ac:chgData name="Kuczak, Tomasz" userId="85a780f3-dce4-4b55-be54-db686ad8418d" providerId="ADAL" clId="{5CEB6EEF-83A1-4F81-B6E5-2DC993363DAF}" dt="2024-01-12T10:44:41.338" v="25" actId="478"/>
          <ac:picMkLst>
            <pc:docMk/>
            <pc:sldMk cId="4272818943" sldId="1361"/>
            <ac:picMk id="29" creationId="{2A82EE93-DE7B-4144-B355-382F2625EC82}"/>
          </ac:picMkLst>
        </pc:picChg>
      </pc:sldChg>
      <pc:sldChg chg="addSp delSp modSp add mod modNotesTx">
        <pc:chgData name="Kuczak, Tomasz" userId="85a780f3-dce4-4b55-be54-db686ad8418d" providerId="ADAL" clId="{5CEB6EEF-83A1-4F81-B6E5-2DC993363DAF}" dt="2024-03-18T14:46:31.637" v="4855" actId="14100"/>
        <pc:sldMkLst>
          <pc:docMk/>
          <pc:sldMk cId="3729605540" sldId="1365"/>
        </pc:sldMkLst>
        <pc:spChg chg="mod">
          <ac:chgData name="Kuczak, Tomasz" userId="85a780f3-dce4-4b55-be54-db686ad8418d" providerId="ADAL" clId="{5CEB6EEF-83A1-4F81-B6E5-2DC993363DAF}" dt="2024-02-21T14:59:32.260" v="3216" actId="20577"/>
          <ac:spMkLst>
            <pc:docMk/>
            <pc:sldMk cId="3729605540" sldId="1365"/>
            <ac:spMk id="2" creationId="{911674FA-AAB1-290E-AC82-CA87E6310AA5}"/>
          </ac:spMkLst>
        </pc:spChg>
        <pc:spChg chg="mod">
          <ac:chgData name="Kuczak, Tomasz" userId="85a780f3-dce4-4b55-be54-db686ad8418d" providerId="ADAL" clId="{5CEB6EEF-83A1-4F81-B6E5-2DC993363DAF}" dt="2024-02-21T14:45:57.817" v="2169" actId="20577"/>
          <ac:spMkLst>
            <pc:docMk/>
            <pc:sldMk cId="3729605540" sldId="1365"/>
            <ac:spMk id="3" creationId="{24306D85-71DB-A43C-EE9F-A05E2C3B843E}"/>
          </ac:spMkLst>
        </pc:spChg>
        <pc:spChg chg="mod">
          <ac:chgData name="Kuczak, Tomasz" userId="85a780f3-dce4-4b55-be54-db686ad8418d" providerId="ADAL" clId="{5CEB6EEF-83A1-4F81-B6E5-2DC993363DAF}" dt="2024-02-21T14:45:13.530" v="2152" actId="20577"/>
          <ac:spMkLst>
            <pc:docMk/>
            <pc:sldMk cId="3729605540" sldId="1365"/>
            <ac:spMk id="4" creationId="{6F381516-F3F1-5803-258D-A281CE214469}"/>
          </ac:spMkLst>
        </pc:spChg>
        <pc:spChg chg="mod">
          <ac:chgData name="Kuczak, Tomasz" userId="85a780f3-dce4-4b55-be54-db686ad8418d" providerId="ADAL" clId="{5CEB6EEF-83A1-4F81-B6E5-2DC993363DAF}" dt="2024-02-21T14:48:18.956" v="2194" actId="20577"/>
          <ac:spMkLst>
            <pc:docMk/>
            <pc:sldMk cId="3729605540" sldId="1365"/>
            <ac:spMk id="5" creationId="{731985F1-A854-FF0C-23C8-8306F6E942BE}"/>
          </ac:spMkLst>
        </pc:spChg>
        <pc:spChg chg="mod">
          <ac:chgData name="Kuczak, Tomasz" userId="85a780f3-dce4-4b55-be54-db686ad8418d" providerId="ADAL" clId="{5CEB6EEF-83A1-4F81-B6E5-2DC993363DAF}" dt="2024-02-21T14:53:20.044" v="2640" actId="12"/>
          <ac:spMkLst>
            <pc:docMk/>
            <pc:sldMk cId="3729605540" sldId="1365"/>
            <ac:spMk id="7" creationId="{96CAE378-94B4-0269-C4D1-EBD2C607BCC3}"/>
          </ac:spMkLst>
        </pc:spChg>
        <pc:spChg chg="mod">
          <ac:chgData name="Kuczak, Tomasz" userId="85a780f3-dce4-4b55-be54-db686ad8418d" providerId="ADAL" clId="{5CEB6EEF-83A1-4F81-B6E5-2DC993363DAF}" dt="2024-02-21T14:50:15.429" v="2418" actId="20577"/>
          <ac:spMkLst>
            <pc:docMk/>
            <pc:sldMk cId="3729605540" sldId="1365"/>
            <ac:spMk id="8" creationId="{A9D0EDE1-319C-F7C6-A99B-9FCF1CAD96E2}"/>
          </ac:spMkLst>
        </pc:spChg>
        <pc:spChg chg="mod">
          <ac:chgData name="Kuczak, Tomasz" userId="85a780f3-dce4-4b55-be54-db686ad8418d" providerId="ADAL" clId="{5CEB6EEF-83A1-4F81-B6E5-2DC993363DAF}" dt="2024-02-21T14:50:31.184" v="2421" actId="20577"/>
          <ac:spMkLst>
            <pc:docMk/>
            <pc:sldMk cId="3729605540" sldId="1365"/>
            <ac:spMk id="9" creationId="{698ADF03-8FE6-EE63-15FA-BCDD7A6C1908}"/>
          </ac:spMkLst>
        </pc:spChg>
        <pc:spChg chg="mod">
          <ac:chgData name="Kuczak, Tomasz" userId="85a780f3-dce4-4b55-be54-db686ad8418d" providerId="ADAL" clId="{5CEB6EEF-83A1-4F81-B6E5-2DC993363DAF}" dt="2024-02-21T15:09:12.236" v="3771" actId="20577"/>
          <ac:spMkLst>
            <pc:docMk/>
            <pc:sldMk cId="3729605540" sldId="1365"/>
            <ac:spMk id="10" creationId="{68D47195-2257-27FD-9554-F23924FA4345}"/>
          </ac:spMkLst>
        </pc:spChg>
        <pc:spChg chg="add del mod">
          <ac:chgData name="Kuczak, Tomasz" userId="85a780f3-dce4-4b55-be54-db686ad8418d" providerId="ADAL" clId="{5CEB6EEF-83A1-4F81-B6E5-2DC993363DAF}" dt="2024-03-18T14:45:27.606" v="4837" actId="931"/>
          <ac:spMkLst>
            <pc:docMk/>
            <pc:sldMk cId="3729605540" sldId="1365"/>
            <ac:spMk id="11" creationId="{6999FF15-8BE0-B054-5538-844BB350D81E}"/>
          </ac:spMkLst>
        </pc:spChg>
        <pc:spChg chg="add mod">
          <ac:chgData name="Kuczak, Tomasz" userId="85a780f3-dce4-4b55-be54-db686ad8418d" providerId="ADAL" clId="{5CEB6EEF-83A1-4F81-B6E5-2DC993363DAF}" dt="2024-02-21T15:07:17.221" v="3770" actId="207"/>
          <ac:spMkLst>
            <pc:docMk/>
            <pc:sldMk cId="3729605540" sldId="1365"/>
            <ac:spMk id="13" creationId="{4A6C0592-B26A-532F-BB77-7D5468FD5251}"/>
          </ac:spMkLst>
        </pc:spChg>
        <pc:picChg chg="del">
          <ac:chgData name="Kuczak, Tomasz" userId="85a780f3-dce4-4b55-be54-db686ad8418d" providerId="ADAL" clId="{5CEB6EEF-83A1-4F81-B6E5-2DC993363DAF}" dt="2024-02-21T14:45:08.743" v="2139" actId="478"/>
          <ac:picMkLst>
            <pc:docMk/>
            <pc:sldMk cId="3729605540" sldId="1365"/>
            <ac:picMk id="12" creationId="{138093C6-4564-A7A6-83AB-5676E39FD75D}"/>
          </ac:picMkLst>
        </pc:picChg>
        <pc:picChg chg="add mod">
          <ac:chgData name="Kuczak, Tomasz" userId="85a780f3-dce4-4b55-be54-db686ad8418d" providerId="ADAL" clId="{5CEB6EEF-83A1-4F81-B6E5-2DC993363DAF}" dt="2024-03-18T14:46:31.637" v="4855" actId="14100"/>
          <ac:picMkLst>
            <pc:docMk/>
            <pc:sldMk cId="3729605540" sldId="1365"/>
            <ac:picMk id="12" creationId="{507D184F-FC5B-DEEF-E47A-A9D88A7382B9}"/>
          </ac:picMkLst>
        </pc:picChg>
      </pc:sldChg>
      <pc:sldChg chg="modSp add del mod modNotesTx">
        <pc:chgData name="Kuczak, Tomasz" userId="85a780f3-dce4-4b55-be54-db686ad8418d" providerId="ADAL" clId="{5CEB6EEF-83A1-4F81-B6E5-2DC993363DAF}" dt="2024-02-29T15:57:38.083" v="4836" actId="47"/>
        <pc:sldMkLst>
          <pc:docMk/>
          <pc:sldMk cId="751155895" sldId="1369"/>
        </pc:sldMkLst>
        <pc:spChg chg="mod">
          <ac:chgData name="Kuczak, Tomasz" userId="85a780f3-dce4-4b55-be54-db686ad8418d" providerId="ADAL" clId="{5CEB6EEF-83A1-4F81-B6E5-2DC993363DAF}" dt="2024-02-29T11:41:59.113" v="4513" actId="20577"/>
          <ac:spMkLst>
            <pc:docMk/>
            <pc:sldMk cId="751155895" sldId="1369"/>
            <ac:spMk id="2" creationId="{911674FA-AAB1-290E-AC82-CA87E6310AA5}"/>
          </ac:spMkLst>
        </pc:spChg>
        <pc:spChg chg="mod">
          <ac:chgData name="Kuczak, Tomasz" userId="85a780f3-dce4-4b55-be54-db686ad8418d" providerId="ADAL" clId="{5CEB6EEF-83A1-4F81-B6E5-2DC993363DAF}" dt="2024-02-29T11:42:54.465" v="4555" actId="9"/>
          <ac:spMkLst>
            <pc:docMk/>
            <pc:sldMk cId="751155895" sldId="1369"/>
            <ac:spMk id="3" creationId="{24306D85-71DB-A43C-EE9F-A05E2C3B843E}"/>
          </ac:spMkLst>
        </pc:spChg>
        <pc:spChg chg="mod">
          <ac:chgData name="Kuczak, Tomasz" userId="85a780f3-dce4-4b55-be54-db686ad8418d" providerId="ADAL" clId="{5CEB6EEF-83A1-4F81-B6E5-2DC993363DAF}" dt="2024-02-29T11:03:14.576" v="3799" actId="20577"/>
          <ac:spMkLst>
            <pc:docMk/>
            <pc:sldMk cId="751155895" sldId="1369"/>
            <ac:spMk id="4" creationId="{6F381516-F3F1-5803-258D-A281CE214469}"/>
          </ac:spMkLst>
        </pc:spChg>
        <pc:spChg chg="mod">
          <ac:chgData name="Kuczak, Tomasz" userId="85a780f3-dce4-4b55-be54-db686ad8418d" providerId="ADAL" clId="{5CEB6EEF-83A1-4F81-B6E5-2DC993363DAF}" dt="2024-02-29T11:03:16.871" v="3800" actId="20577"/>
          <ac:spMkLst>
            <pc:docMk/>
            <pc:sldMk cId="751155895" sldId="1369"/>
            <ac:spMk id="5" creationId="{731985F1-A854-FF0C-23C8-8306F6E942BE}"/>
          </ac:spMkLst>
        </pc:spChg>
        <pc:spChg chg="mod">
          <ac:chgData name="Kuczak, Tomasz" userId="85a780f3-dce4-4b55-be54-db686ad8418d" providerId="ADAL" clId="{5CEB6EEF-83A1-4F81-B6E5-2DC993363DAF}" dt="2024-02-29T11:49:47.715" v="4618" actId="20577"/>
          <ac:spMkLst>
            <pc:docMk/>
            <pc:sldMk cId="751155895" sldId="1369"/>
            <ac:spMk id="7" creationId="{96CAE378-94B4-0269-C4D1-EBD2C607BCC3}"/>
          </ac:spMkLst>
        </pc:spChg>
        <pc:spChg chg="mod">
          <ac:chgData name="Kuczak, Tomasz" userId="85a780f3-dce4-4b55-be54-db686ad8418d" providerId="ADAL" clId="{5CEB6EEF-83A1-4F81-B6E5-2DC993363DAF}" dt="2024-02-29T12:11:44.436" v="4822" actId="20577"/>
          <ac:spMkLst>
            <pc:docMk/>
            <pc:sldMk cId="751155895" sldId="1369"/>
            <ac:spMk id="8" creationId="{A9D0EDE1-319C-F7C6-A99B-9FCF1CAD96E2}"/>
          </ac:spMkLst>
        </pc:spChg>
        <pc:spChg chg="mod">
          <ac:chgData name="Kuczak, Tomasz" userId="85a780f3-dce4-4b55-be54-db686ad8418d" providerId="ADAL" clId="{5CEB6EEF-83A1-4F81-B6E5-2DC993363DAF}" dt="2024-02-29T13:25:15.641" v="4835" actId="20577"/>
          <ac:spMkLst>
            <pc:docMk/>
            <pc:sldMk cId="751155895" sldId="1369"/>
            <ac:spMk id="10" creationId="{68D47195-2257-27FD-9554-F23924FA4345}"/>
          </ac:spMkLst>
        </pc:spChg>
        <pc:spChg chg="mod">
          <ac:chgData name="Kuczak, Tomasz" userId="85a780f3-dce4-4b55-be54-db686ad8418d" providerId="ADAL" clId="{5CEB6EEF-83A1-4F81-B6E5-2DC993363DAF}" dt="2024-02-29T11:03:40.803" v="3813" actId="20577"/>
          <ac:spMkLst>
            <pc:docMk/>
            <pc:sldMk cId="751155895" sldId="1369"/>
            <ac:spMk id="13" creationId="{4A6C0592-B26A-532F-BB77-7D5468FD5251}"/>
          </ac:spMkLst>
        </pc:spChg>
      </pc:sldChg>
    </pc:docChg>
  </pc:docChgLst>
  <pc:docChgLst>
    <pc:chgData name="Mostowski, Tomasz" userId="f6193f7a-5b41-4a4e-8a01-aace862f638a" providerId="ADAL" clId="{883B4BEC-4F92-4013-8461-F5EF7EE79EB1}"/>
    <pc:docChg chg="custSel modSld">
      <pc:chgData name="Mostowski, Tomasz" userId="f6193f7a-5b41-4a4e-8a01-aace862f638a" providerId="ADAL" clId="{883B4BEC-4F92-4013-8461-F5EF7EE79EB1}" dt="2024-04-04T11:41:37.028" v="16" actId="20577"/>
      <pc:docMkLst>
        <pc:docMk/>
      </pc:docMkLst>
      <pc:sldChg chg="modSp mod">
        <pc:chgData name="Mostowski, Tomasz" userId="f6193f7a-5b41-4a4e-8a01-aace862f638a" providerId="ADAL" clId="{883B4BEC-4F92-4013-8461-F5EF7EE79EB1}" dt="2024-01-24T15:32:08.268" v="1" actId="27636"/>
        <pc:sldMkLst>
          <pc:docMk/>
          <pc:sldMk cId="1733477518" sldId="1252"/>
        </pc:sldMkLst>
        <pc:spChg chg="mod">
          <ac:chgData name="Mostowski, Tomasz" userId="f6193f7a-5b41-4a4e-8a01-aace862f638a" providerId="ADAL" clId="{883B4BEC-4F92-4013-8461-F5EF7EE79EB1}" dt="2024-01-24T15:32:08.268" v="1" actId="27636"/>
          <ac:spMkLst>
            <pc:docMk/>
            <pc:sldMk cId="1733477518" sldId="1252"/>
            <ac:spMk id="10" creationId="{68D47195-2257-27FD-9554-F23924FA4345}"/>
          </ac:spMkLst>
        </pc:spChg>
      </pc:sldChg>
      <pc:sldChg chg="modSp mod">
        <pc:chgData name="Mostowski, Tomasz" userId="f6193f7a-5b41-4a4e-8a01-aace862f638a" providerId="ADAL" clId="{883B4BEC-4F92-4013-8461-F5EF7EE79EB1}" dt="2024-01-24T15:32:08.053" v="0" actId="27636"/>
        <pc:sldMkLst>
          <pc:docMk/>
          <pc:sldMk cId="3706624102" sldId="1322"/>
        </pc:sldMkLst>
        <pc:spChg chg="mod">
          <ac:chgData name="Mostowski, Tomasz" userId="f6193f7a-5b41-4a4e-8a01-aace862f638a" providerId="ADAL" clId="{883B4BEC-4F92-4013-8461-F5EF7EE79EB1}" dt="2024-01-24T15:32:08.053" v="0" actId="27636"/>
          <ac:spMkLst>
            <pc:docMk/>
            <pc:sldMk cId="3706624102" sldId="1322"/>
            <ac:spMk id="8" creationId="{A9D0EDE1-319C-F7C6-A99B-9FCF1CAD96E2}"/>
          </ac:spMkLst>
        </pc:spChg>
      </pc:sldChg>
      <pc:sldChg chg="modSp mod">
        <pc:chgData name="Mostowski, Tomasz" userId="f6193f7a-5b41-4a4e-8a01-aace862f638a" providerId="ADAL" clId="{883B4BEC-4F92-4013-8461-F5EF7EE79EB1}" dt="2024-01-24T15:32:08.349" v="5" actId="27636"/>
        <pc:sldMkLst>
          <pc:docMk/>
          <pc:sldMk cId="3967085744" sldId="1347"/>
        </pc:sldMkLst>
        <pc:spChg chg="mod">
          <ac:chgData name="Mostowski, Tomasz" userId="f6193f7a-5b41-4a4e-8a01-aace862f638a" providerId="ADAL" clId="{883B4BEC-4F92-4013-8461-F5EF7EE79EB1}" dt="2024-01-24T15:32:08.349" v="5" actId="27636"/>
          <ac:spMkLst>
            <pc:docMk/>
            <pc:sldMk cId="3967085744" sldId="1347"/>
            <ac:spMk id="2" creationId="{907A6792-CD02-599B-4146-7772C73B01E3}"/>
          </ac:spMkLst>
        </pc:spChg>
        <pc:spChg chg="mod">
          <ac:chgData name="Mostowski, Tomasz" userId="f6193f7a-5b41-4a4e-8a01-aace862f638a" providerId="ADAL" clId="{883B4BEC-4F92-4013-8461-F5EF7EE79EB1}" dt="2024-01-24T15:32:08.342" v="4" actId="27636"/>
          <ac:spMkLst>
            <pc:docMk/>
            <pc:sldMk cId="3967085744" sldId="1347"/>
            <ac:spMk id="7" creationId="{83D1AB77-327B-D8C5-CF7B-688095FA023A}"/>
          </ac:spMkLst>
        </pc:spChg>
      </pc:sldChg>
      <pc:sldChg chg="modSp mod">
        <pc:chgData name="Mostowski, Tomasz" userId="f6193f7a-5b41-4a4e-8a01-aace862f638a" providerId="ADAL" clId="{883B4BEC-4F92-4013-8461-F5EF7EE79EB1}" dt="2024-01-24T15:32:08.329" v="3" actId="27636"/>
        <pc:sldMkLst>
          <pc:docMk/>
          <pc:sldMk cId="1949626962" sldId="1349"/>
        </pc:sldMkLst>
        <pc:spChg chg="mod">
          <ac:chgData name="Mostowski, Tomasz" userId="f6193f7a-5b41-4a4e-8a01-aace862f638a" providerId="ADAL" clId="{883B4BEC-4F92-4013-8461-F5EF7EE79EB1}" dt="2024-01-24T15:32:08.327" v="2" actId="27636"/>
          <ac:spMkLst>
            <pc:docMk/>
            <pc:sldMk cId="1949626962" sldId="1349"/>
            <ac:spMk id="2" creationId="{907A6792-CD02-599B-4146-7772C73B01E3}"/>
          </ac:spMkLst>
        </pc:spChg>
        <pc:spChg chg="mod">
          <ac:chgData name="Mostowski, Tomasz" userId="f6193f7a-5b41-4a4e-8a01-aace862f638a" providerId="ADAL" clId="{883B4BEC-4F92-4013-8461-F5EF7EE79EB1}" dt="2024-01-24T15:32:08.329" v="3" actId="27636"/>
          <ac:spMkLst>
            <pc:docMk/>
            <pc:sldMk cId="1949626962" sldId="1349"/>
            <ac:spMk id="8" creationId="{9CFFF608-5DCB-85A5-D2CF-77199B9A17D9}"/>
          </ac:spMkLst>
        </pc:spChg>
      </pc:sldChg>
      <pc:sldChg chg="modSp mod">
        <pc:chgData name="Mostowski, Tomasz" userId="f6193f7a-5b41-4a4e-8a01-aace862f638a" providerId="ADAL" clId="{883B4BEC-4F92-4013-8461-F5EF7EE79EB1}" dt="2024-01-24T15:32:08.490" v="6" actId="27636"/>
        <pc:sldMkLst>
          <pc:docMk/>
          <pc:sldMk cId="628719752" sldId="1353"/>
        </pc:sldMkLst>
        <pc:spChg chg="mod">
          <ac:chgData name="Mostowski, Tomasz" userId="f6193f7a-5b41-4a4e-8a01-aace862f638a" providerId="ADAL" clId="{883B4BEC-4F92-4013-8461-F5EF7EE79EB1}" dt="2024-01-24T15:32:08.490" v="6" actId="27636"/>
          <ac:spMkLst>
            <pc:docMk/>
            <pc:sldMk cId="628719752" sldId="1353"/>
            <ac:spMk id="7" creationId="{83D1AB77-327B-D8C5-CF7B-688095FA023A}"/>
          </ac:spMkLst>
        </pc:spChg>
      </pc:sldChg>
      <pc:sldChg chg="modSp mod">
        <pc:chgData name="Mostowski, Tomasz" userId="f6193f7a-5b41-4a4e-8a01-aace862f638a" providerId="ADAL" clId="{883B4BEC-4F92-4013-8461-F5EF7EE79EB1}" dt="2024-03-07T11:53:42.353" v="11" actId="20577"/>
        <pc:sldMkLst>
          <pc:docMk/>
          <pc:sldMk cId="282247140" sldId="1363"/>
        </pc:sldMkLst>
        <pc:spChg chg="mod">
          <ac:chgData name="Mostowski, Tomasz" userId="f6193f7a-5b41-4a4e-8a01-aace862f638a" providerId="ADAL" clId="{883B4BEC-4F92-4013-8461-F5EF7EE79EB1}" dt="2024-03-07T11:53:42.353" v="11" actId="20577"/>
          <ac:spMkLst>
            <pc:docMk/>
            <pc:sldMk cId="282247140" sldId="1363"/>
            <ac:spMk id="4" creationId="{C86BA3DB-B572-7A7D-1449-1BB8574AED12}"/>
          </ac:spMkLst>
        </pc:spChg>
      </pc:sldChg>
      <pc:sldChg chg="delSp mod">
        <pc:chgData name="Mostowski, Tomasz" userId="f6193f7a-5b41-4a4e-8a01-aace862f638a" providerId="ADAL" clId="{883B4BEC-4F92-4013-8461-F5EF7EE79EB1}" dt="2024-03-28T14:40:41.285" v="12" actId="478"/>
        <pc:sldMkLst>
          <pc:docMk/>
          <pc:sldMk cId="3729605540" sldId="1365"/>
        </pc:sldMkLst>
        <pc:spChg chg="del">
          <ac:chgData name="Mostowski, Tomasz" userId="f6193f7a-5b41-4a4e-8a01-aace862f638a" providerId="ADAL" clId="{883B4BEC-4F92-4013-8461-F5EF7EE79EB1}" dt="2024-03-28T14:40:41.285" v="12" actId="478"/>
          <ac:spMkLst>
            <pc:docMk/>
            <pc:sldMk cId="3729605540" sldId="1365"/>
            <ac:spMk id="13" creationId="{4A6C0592-B26A-532F-BB77-7D5468FD5251}"/>
          </ac:spMkLst>
        </pc:spChg>
      </pc:sldChg>
      <pc:sldChg chg="modSp mod">
        <pc:chgData name="Mostowski, Tomasz" userId="f6193f7a-5b41-4a4e-8a01-aace862f638a" providerId="ADAL" clId="{883B4BEC-4F92-4013-8461-F5EF7EE79EB1}" dt="2024-04-04T11:41:37.028" v="16" actId="20577"/>
        <pc:sldMkLst>
          <pc:docMk/>
          <pc:sldMk cId="2847091332" sldId="1368"/>
        </pc:sldMkLst>
        <pc:spChg chg="mod">
          <ac:chgData name="Mostowski, Tomasz" userId="f6193f7a-5b41-4a4e-8a01-aace862f638a" providerId="ADAL" clId="{883B4BEC-4F92-4013-8461-F5EF7EE79EB1}" dt="2024-04-04T11:41:37.028" v="16" actId="20577"/>
          <ac:spMkLst>
            <pc:docMk/>
            <pc:sldMk cId="2847091332" sldId="1368"/>
            <ac:spMk id="3" creationId="{6EB5865F-1DB2-9704-D13D-FFBC0190B5DD}"/>
          </ac:spMkLst>
        </pc:spChg>
      </pc:sldChg>
    </pc:docChg>
  </pc:docChgLst>
  <pc:docChgLst>
    <pc:chgData name="Kostrzewa, Michalina" userId="S::michalina.kostrzewa@accenture.com::f9c8eaf7-e0fb-4f7f-b9c4-b9b96ac1f428" providerId="AD" clId="Web-{56106F6D-0C48-4420-9CBC-9EBEEBA1F9AB}"/>
    <pc:docChg chg="modSld">
      <pc:chgData name="Kostrzewa, Michalina" userId="S::michalina.kostrzewa@accenture.com::f9c8eaf7-e0fb-4f7f-b9c4-b9b96ac1f428" providerId="AD" clId="Web-{56106F6D-0C48-4420-9CBC-9EBEEBA1F9AB}" dt="2023-11-30T13:43:45.360" v="379" actId="20577"/>
      <pc:docMkLst>
        <pc:docMk/>
      </pc:docMkLst>
      <pc:sldChg chg="modSp">
        <pc:chgData name="Kostrzewa, Michalina" userId="S::michalina.kostrzewa@accenture.com::f9c8eaf7-e0fb-4f7f-b9c4-b9b96ac1f428" providerId="AD" clId="Web-{56106F6D-0C48-4420-9CBC-9EBEEBA1F9AB}" dt="2023-11-30T13:07:58.027" v="1" actId="20577"/>
        <pc:sldMkLst>
          <pc:docMk/>
          <pc:sldMk cId="4146181164" sldId="1253"/>
        </pc:sldMkLst>
        <pc:spChg chg="mod">
          <ac:chgData name="Kostrzewa, Michalina" userId="S::michalina.kostrzewa@accenture.com::f9c8eaf7-e0fb-4f7f-b9c4-b9b96ac1f428" providerId="AD" clId="Web-{56106F6D-0C48-4420-9CBC-9EBEEBA1F9AB}" dt="2023-11-30T13:07:58.027" v="1" actId="20577"/>
          <ac:spMkLst>
            <pc:docMk/>
            <pc:sldMk cId="4146181164" sldId="1253"/>
            <ac:spMk id="2" creationId="{911674FA-AAB1-290E-AC82-CA87E6310AA5}"/>
          </ac:spMkLst>
        </pc:spChg>
      </pc:sldChg>
      <pc:sldChg chg="modSp">
        <pc:chgData name="Kostrzewa, Michalina" userId="S::michalina.kostrzewa@accenture.com::f9c8eaf7-e0fb-4f7f-b9c4-b9b96ac1f428" providerId="AD" clId="Web-{56106F6D-0C48-4420-9CBC-9EBEEBA1F9AB}" dt="2023-11-30T13:43:45.360" v="379" actId="20577"/>
        <pc:sldMkLst>
          <pc:docMk/>
          <pc:sldMk cId="3831383783" sldId="1352"/>
        </pc:sldMkLst>
        <pc:spChg chg="mod">
          <ac:chgData name="Kostrzewa, Michalina" userId="S::michalina.kostrzewa@accenture.com::f9c8eaf7-e0fb-4f7f-b9c4-b9b96ac1f428" providerId="AD" clId="Web-{56106F6D-0C48-4420-9CBC-9EBEEBA1F9AB}" dt="2023-11-30T13:41:43.622" v="318" actId="20577"/>
          <ac:spMkLst>
            <pc:docMk/>
            <pc:sldMk cId="3831383783" sldId="1352"/>
            <ac:spMk id="2" creationId="{AAB8BB9D-0FB6-62BF-E1B5-48D59B98FF35}"/>
          </ac:spMkLst>
        </pc:spChg>
        <pc:spChg chg="mod">
          <ac:chgData name="Kostrzewa, Michalina" userId="S::michalina.kostrzewa@accenture.com::f9c8eaf7-e0fb-4f7f-b9c4-b9b96ac1f428" providerId="AD" clId="Web-{56106F6D-0C48-4420-9CBC-9EBEEBA1F9AB}" dt="2023-11-30T13:38:29.602" v="268" actId="20577"/>
          <ac:spMkLst>
            <pc:docMk/>
            <pc:sldMk cId="3831383783" sldId="1352"/>
            <ac:spMk id="3" creationId="{512B5AAB-36CC-B248-45FC-EE79F3757952}"/>
          </ac:spMkLst>
        </pc:spChg>
        <pc:spChg chg="mod">
          <ac:chgData name="Kostrzewa, Michalina" userId="S::michalina.kostrzewa@accenture.com::f9c8eaf7-e0fb-4f7f-b9c4-b9b96ac1f428" providerId="AD" clId="Web-{56106F6D-0C48-4420-9CBC-9EBEEBA1F9AB}" dt="2023-11-30T13:18:46.011" v="31" actId="20577"/>
          <ac:spMkLst>
            <pc:docMk/>
            <pc:sldMk cId="3831383783" sldId="1352"/>
            <ac:spMk id="7" creationId="{5BB75E3F-E931-615A-68A2-7BB81C48CFAD}"/>
          </ac:spMkLst>
        </pc:spChg>
        <pc:spChg chg="mod">
          <ac:chgData name="Kostrzewa, Michalina" userId="S::michalina.kostrzewa@accenture.com::f9c8eaf7-e0fb-4f7f-b9c4-b9b96ac1f428" providerId="AD" clId="Web-{56106F6D-0C48-4420-9CBC-9EBEEBA1F9AB}" dt="2023-11-30T13:42:46.889" v="350" actId="20577"/>
          <ac:spMkLst>
            <pc:docMk/>
            <pc:sldMk cId="3831383783" sldId="1352"/>
            <ac:spMk id="8" creationId="{470BA70A-2BDE-FA95-B241-FA70FDE67E60}"/>
          </ac:spMkLst>
        </pc:spChg>
        <pc:spChg chg="mod">
          <ac:chgData name="Kostrzewa, Michalina" userId="S::michalina.kostrzewa@accenture.com::f9c8eaf7-e0fb-4f7f-b9c4-b9b96ac1f428" providerId="AD" clId="Web-{56106F6D-0C48-4420-9CBC-9EBEEBA1F9AB}" dt="2023-11-30T13:43:45.360" v="379" actId="20577"/>
          <ac:spMkLst>
            <pc:docMk/>
            <pc:sldMk cId="3831383783" sldId="1352"/>
            <ac:spMk id="10" creationId="{F538107F-65D0-6F34-3C3B-5A87C3C26470}"/>
          </ac:spMkLst>
        </pc:spChg>
      </pc:sldChg>
    </pc:docChg>
  </pc:docChgLst>
  <pc:docChgLst>
    <pc:chgData name="Giussani, Riccardo" userId="S::riccardo.giussani@accenture.com::5f020982-561c-45f9-9311-51bc16e49edd" providerId="AD" clId="Web-{0F5FB17E-CE23-4035-8CE8-51FC591AC70E}"/>
    <pc:docChg chg="modSld">
      <pc:chgData name="Giussani, Riccardo" userId="S::riccardo.giussani@accenture.com::5f020982-561c-45f9-9311-51bc16e49edd" providerId="AD" clId="Web-{0F5FB17E-CE23-4035-8CE8-51FC591AC70E}" dt="2023-12-11T06:30:02.892" v="15" actId="20577"/>
      <pc:docMkLst>
        <pc:docMk/>
      </pc:docMkLst>
      <pc:sldChg chg="modSp">
        <pc:chgData name="Giussani, Riccardo" userId="S::riccardo.giussani@accenture.com::5f020982-561c-45f9-9311-51bc16e49edd" providerId="AD" clId="Web-{0F5FB17E-CE23-4035-8CE8-51FC591AC70E}" dt="2023-12-11T06:30:02.892" v="15" actId="20577"/>
        <pc:sldMkLst>
          <pc:docMk/>
          <pc:sldMk cId="3706624102" sldId="1322"/>
        </pc:sldMkLst>
        <pc:spChg chg="mod">
          <ac:chgData name="Giussani, Riccardo" userId="S::riccardo.giussani@accenture.com::5f020982-561c-45f9-9311-51bc16e49edd" providerId="AD" clId="Web-{0F5FB17E-CE23-4035-8CE8-51FC591AC70E}" dt="2023-12-11T06:30:02.892" v="15" actId="20577"/>
          <ac:spMkLst>
            <pc:docMk/>
            <pc:sldMk cId="3706624102" sldId="1322"/>
            <ac:spMk id="10" creationId="{68D47195-2257-27FD-9554-F23924FA4345}"/>
          </ac:spMkLst>
        </pc:spChg>
      </pc:sldChg>
    </pc:docChg>
  </pc:docChgLst>
  <pc:docChgLst>
    <pc:chgData name="Jach, Agnieszka" userId="366b1e26-79c5-4729-9a9f-9e1f21bd2899" providerId="ADAL" clId="{02A8C79E-9D89-4BC9-9CE6-222C8EF43754}"/>
    <pc:docChg chg="undo custSel modSld">
      <pc:chgData name="Jach, Agnieszka" userId="366b1e26-79c5-4729-9a9f-9e1f21bd2899" providerId="ADAL" clId="{02A8C79E-9D89-4BC9-9CE6-222C8EF43754}" dt="2023-11-03T10:21:18.257" v="275" actId="20577"/>
      <pc:docMkLst>
        <pc:docMk/>
      </pc:docMkLst>
      <pc:sldChg chg="modSp mod">
        <pc:chgData name="Jach, Agnieszka" userId="366b1e26-79c5-4729-9a9f-9e1f21bd2899" providerId="ADAL" clId="{02A8C79E-9D89-4BC9-9CE6-222C8EF43754}" dt="2023-10-16T12:53:44.686" v="1" actId="20577"/>
        <pc:sldMkLst>
          <pc:docMk/>
          <pc:sldMk cId="1241472327" sldId="1247"/>
        </pc:sldMkLst>
        <pc:spChg chg="mod">
          <ac:chgData name="Jach, Agnieszka" userId="366b1e26-79c5-4729-9a9f-9e1f21bd2899" providerId="ADAL" clId="{02A8C79E-9D89-4BC9-9CE6-222C8EF43754}" dt="2023-10-16T12:53:44.686" v="1" actId="20577"/>
          <ac:spMkLst>
            <pc:docMk/>
            <pc:sldMk cId="1241472327" sldId="1247"/>
            <ac:spMk id="7" creationId="{96CAE378-94B4-0269-C4D1-EBD2C607BCC3}"/>
          </ac:spMkLst>
        </pc:spChg>
      </pc:sldChg>
      <pc:sldChg chg="modSp mod">
        <pc:chgData name="Jach, Agnieszka" userId="366b1e26-79c5-4729-9a9f-9e1f21bd2899" providerId="ADAL" clId="{02A8C79E-9D89-4BC9-9CE6-222C8EF43754}" dt="2023-11-03T10:21:18.257" v="275" actId="20577"/>
        <pc:sldMkLst>
          <pc:docMk/>
          <pc:sldMk cId="1389653122" sldId="1249"/>
        </pc:sldMkLst>
        <pc:spChg chg="mod">
          <ac:chgData name="Jach, Agnieszka" userId="366b1e26-79c5-4729-9a9f-9e1f21bd2899" providerId="ADAL" clId="{02A8C79E-9D89-4BC9-9CE6-222C8EF43754}" dt="2023-11-03T10:17:02.085" v="54"/>
          <ac:spMkLst>
            <pc:docMk/>
            <pc:sldMk cId="1389653122" sldId="1249"/>
            <ac:spMk id="2" creationId="{911674FA-AAB1-290E-AC82-CA87E6310AA5}"/>
          </ac:spMkLst>
        </pc:spChg>
        <pc:spChg chg="mod">
          <ac:chgData name="Jach, Agnieszka" userId="366b1e26-79c5-4729-9a9f-9e1f21bd2899" providerId="ADAL" clId="{02A8C79E-9D89-4BC9-9CE6-222C8EF43754}" dt="2023-11-03T10:21:18.257" v="275" actId="20577"/>
          <ac:spMkLst>
            <pc:docMk/>
            <pc:sldMk cId="1389653122" sldId="1249"/>
            <ac:spMk id="10" creationId="{68D47195-2257-27FD-9554-F23924FA4345}"/>
          </ac:spMkLst>
        </pc:spChg>
      </pc:sldChg>
    </pc:docChg>
  </pc:docChgLst>
  <pc:docChgLst>
    <pc:chgData name="Mikielewicz, Magdalena" userId="S::m.mikielewicz@accenture.com::35140045-cb91-483b-900a-2759bb1baba3" providerId="AD" clId="Web-{59A14A2E-46AF-B9A3-3608-540CBF673509}"/>
    <pc:docChg chg="modSld">
      <pc:chgData name="Mikielewicz, Magdalena" userId="S::m.mikielewicz@accenture.com::35140045-cb91-483b-900a-2759bb1baba3" providerId="AD" clId="Web-{59A14A2E-46AF-B9A3-3608-540CBF673509}" dt="2024-03-21T09:09:23.047" v="409" actId="20577"/>
      <pc:docMkLst>
        <pc:docMk/>
      </pc:docMkLst>
      <pc:sldChg chg="modSp">
        <pc:chgData name="Mikielewicz, Magdalena" userId="S::m.mikielewicz@accenture.com::35140045-cb91-483b-900a-2759bb1baba3" providerId="AD" clId="Web-{59A14A2E-46AF-B9A3-3608-540CBF673509}" dt="2024-03-21T08:06:01.251" v="7" actId="1076"/>
        <pc:sldMkLst>
          <pc:docMk/>
          <pc:sldMk cId="2929832845" sldId="1281"/>
        </pc:sldMkLst>
        <pc:spChg chg="mod">
          <ac:chgData name="Mikielewicz, Magdalena" userId="S::m.mikielewicz@accenture.com::35140045-cb91-483b-900a-2759bb1baba3" providerId="AD" clId="Web-{59A14A2E-46AF-B9A3-3608-540CBF673509}" dt="2024-03-21T08:06:01.251" v="7" actId="1076"/>
          <ac:spMkLst>
            <pc:docMk/>
            <pc:sldMk cId="2929832845" sldId="1281"/>
            <ac:spMk id="10" creationId="{68D47195-2257-27FD-9554-F23924FA4345}"/>
          </ac:spMkLst>
        </pc:spChg>
      </pc:sldChg>
      <pc:sldChg chg="modSp">
        <pc:chgData name="Mikielewicz, Magdalena" userId="S::m.mikielewicz@accenture.com::35140045-cb91-483b-900a-2759bb1baba3" providerId="AD" clId="Web-{59A14A2E-46AF-B9A3-3608-540CBF673509}" dt="2024-03-21T09:09:23.047" v="409" actId="20577"/>
        <pc:sldMkLst>
          <pc:docMk/>
          <pc:sldMk cId="1635322474" sldId="1367"/>
        </pc:sldMkLst>
        <pc:spChg chg="mod">
          <ac:chgData name="Mikielewicz, Magdalena" userId="S::m.mikielewicz@accenture.com::35140045-cb91-483b-900a-2759bb1baba3" providerId="AD" clId="Web-{59A14A2E-46AF-B9A3-3608-540CBF673509}" dt="2024-03-21T08:04:56.061" v="6" actId="20577"/>
          <ac:spMkLst>
            <pc:docMk/>
            <pc:sldMk cId="1635322474" sldId="1367"/>
            <ac:spMk id="4" creationId="{77EFDFA8-BD7C-3D3F-8321-74FE515F0294}"/>
          </ac:spMkLst>
        </pc:spChg>
        <pc:spChg chg="mod">
          <ac:chgData name="Mikielewicz, Magdalena" userId="S::m.mikielewicz@accenture.com::35140045-cb91-483b-900a-2759bb1baba3" providerId="AD" clId="Web-{59A14A2E-46AF-B9A3-3608-540CBF673509}" dt="2024-03-21T09:00:43.450" v="351" actId="20577"/>
          <ac:spMkLst>
            <pc:docMk/>
            <pc:sldMk cId="1635322474" sldId="1367"/>
            <ac:spMk id="8" creationId="{25AC138F-CE17-8286-7F11-15E8935E37CB}"/>
          </ac:spMkLst>
        </pc:spChg>
        <pc:spChg chg="mod">
          <ac:chgData name="Mikielewicz, Magdalena" userId="S::m.mikielewicz@accenture.com::35140045-cb91-483b-900a-2759bb1baba3" providerId="AD" clId="Web-{59A14A2E-46AF-B9A3-3608-540CBF673509}" dt="2024-03-21T09:09:23.047" v="409" actId="20577"/>
          <ac:spMkLst>
            <pc:docMk/>
            <pc:sldMk cId="1635322474" sldId="1367"/>
            <ac:spMk id="10" creationId="{3C5047D1-7D81-5C08-F59E-DB1DEAF16D5B}"/>
          </ac:spMkLst>
        </pc:spChg>
      </pc:sldChg>
    </pc:docChg>
  </pc:docChgLst>
  <pc:docChgLst>
    <pc:chgData name="Cieslukowska, Kaja" userId="94aed517-129c-49f2-8909-55db1863f8a6" providerId="ADAL" clId="{815BC159-B117-4376-96E0-8423A0269377}"/>
    <pc:docChg chg="custSel addSld modSld">
      <pc:chgData name="Cieslukowska, Kaja" userId="94aed517-129c-49f2-8909-55db1863f8a6" providerId="ADAL" clId="{815BC159-B117-4376-96E0-8423A0269377}" dt="2023-12-20T13:40:46.577" v="16" actId="20577"/>
      <pc:docMkLst>
        <pc:docMk/>
      </pc:docMkLst>
      <pc:sldChg chg="add modNotesTx">
        <pc:chgData name="Cieslukowska, Kaja" userId="94aed517-129c-49f2-8909-55db1863f8a6" providerId="ADAL" clId="{815BC159-B117-4376-96E0-8423A0269377}" dt="2023-12-20T13:40:46.577" v="16" actId="20577"/>
        <pc:sldMkLst>
          <pc:docMk/>
          <pc:sldMk cId="4271209257" sldId="1357"/>
        </pc:sldMkLst>
      </pc:sldChg>
    </pc:docChg>
  </pc:docChgLst>
  <pc:docChgLst>
    <pc:chgData name="Paczusko, Jakub" userId="S::jakub.paczusko@accenture.com::fa3848df-111d-4f94-8ca7-e12e994db4b9" providerId="AD" clId="Web-{F131FA3D-657A-A120-AABA-16006F62EF40}"/>
    <pc:docChg chg="modSld">
      <pc:chgData name="Paczusko, Jakub" userId="S::jakub.paczusko@accenture.com::fa3848df-111d-4f94-8ca7-e12e994db4b9" providerId="AD" clId="Web-{F131FA3D-657A-A120-AABA-16006F62EF40}" dt="2023-11-30T11:21:46.741" v="150" actId="20577"/>
      <pc:docMkLst>
        <pc:docMk/>
      </pc:docMkLst>
      <pc:sldChg chg="modSp">
        <pc:chgData name="Paczusko, Jakub" userId="S::jakub.paczusko@accenture.com::fa3848df-111d-4f94-8ca7-e12e994db4b9" providerId="AD" clId="Web-{F131FA3D-657A-A120-AABA-16006F62EF40}" dt="2023-11-30T11:21:46.741" v="150" actId="20577"/>
        <pc:sldMkLst>
          <pc:docMk/>
          <pc:sldMk cId="3967085744" sldId="1347"/>
        </pc:sldMkLst>
        <pc:spChg chg="mod">
          <ac:chgData name="Paczusko, Jakub" userId="S::jakub.paczusko@accenture.com::fa3848df-111d-4f94-8ca7-e12e994db4b9" providerId="AD" clId="Web-{F131FA3D-657A-A120-AABA-16006F62EF40}" dt="2023-11-30T11:21:46.741" v="150" actId="20577"/>
          <ac:spMkLst>
            <pc:docMk/>
            <pc:sldMk cId="3967085744" sldId="1347"/>
            <ac:spMk id="8" creationId="{9CFFF608-5DCB-85A5-D2CF-77199B9A17D9}"/>
          </ac:spMkLst>
        </pc:spChg>
      </pc:sldChg>
    </pc:docChg>
  </pc:docChgLst>
  <pc:docChgLst>
    <pc:chgData name="Górski, Adam" userId="S::adam.gorski@accenture.com::ef48f5a5-9a98-4e41-9c63-9fdf5cc81b73" providerId="AD" clId="Web-{54D95288-77E3-4AC6-BEB3-203F7A2CC2A5}"/>
    <pc:docChg chg="modSld sldOrd">
      <pc:chgData name="Górski, Adam" userId="S::adam.gorski@accenture.com::ef48f5a5-9a98-4e41-9c63-9fdf5cc81b73" providerId="AD" clId="Web-{54D95288-77E3-4AC6-BEB3-203F7A2CC2A5}" dt="2024-02-01T15:39:58.943" v="3"/>
      <pc:docMkLst>
        <pc:docMk/>
      </pc:docMkLst>
      <pc:sldChg chg="ord">
        <pc:chgData name="Górski, Adam" userId="S::adam.gorski@accenture.com::ef48f5a5-9a98-4e41-9c63-9fdf5cc81b73" providerId="AD" clId="Web-{54D95288-77E3-4AC6-BEB3-203F7A2CC2A5}" dt="2024-02-01T14:55:54.365" v="0"/>
        <pc:sldMkLst>
          <pc:docMk/>
          <pc:sldMk cId="2400061116" sldId="1237"/>
        </pc:sldMkLst>
      </pc:sldChg>
      <pc:sldChg chg="ord">
        <pc:chgData name="Górski, Adam" userId="S::adam.gorski@accenture.com::ef48f5a5-9a98-4e41-9c63-9fdf5cc81b73" providerId="AD" clId="Web-{54D95288-77E3-4AC6-BEB3-203F7A2CC2A5}" dt="2024-02-01T15:39:58.943" v="3"/>
        <pc:sldMkLst>
          <pc:docMk/>
          <pc:sldMk cId="4110471149" sldId="1354"/>
        </pc:sldMkLst>
      </pc:sldChg>
      <pc:sldChg chg="modSp">
        <pc:chgData name="Górski, Adam" userId="S::adam.gorski@accenture.com::ef48f5a5-9a98-4e41-9c63-9fdf5cc81b73" providerId="AD" clId="Web-{54D95288-77E3-4AC6-BEB3-203F7A2CC2A5}" dt="2024-02-01T14:59:14.309" v="2" actId="1076"/>
        <pc:sldMkLst>
          <pc:docMk/>
          <pc:sldMk cId="967545864" sldId="1360"/>
        </pc:sldMkLst>
        <pc:spChg chg="mod">
          <ac:chgData name="Górski, Adam" userId="S::adam.gorski@accenture.com::ef48f5a5-9a98-4e41-9c63-9fdf5cc81b73" providerId="AD" clId="Web-{54D95288-77E3-4AC6-BEB3-203F7A2CC2A5}" dt="2024-02-01T14:59:14.309" v="2" actId="1076"/>
          <ac:spMkLst>
            <pc:docMk/>
            <pc:sldMk cId="967545864" sldId="1360"/>
            <ac:spMk id="2" creationId="{D1BDAE81-5210-487E-2053-A550675F318D}"/>
          </ac:spMkLst>
        </pc:spChg>
      </pc:sldChg>
    </pc:docChg>
  </pc:docChgLst>
  <pc:docChgLst>
    <pc:chgData name="Hachim, Adel" userId="S::adel.hachim@accenture.com::35b68745-81ff-4c11-956b-d3a71da06ada" providerId="AD" clId="Web-{01BC26BA-0109-0DDF-36F9-3F3DD811FC12}"/>
    <pc:docChg chg="addSld modSld modSection">
      <pc:chgData name="Hachim, Adel" userId="S::adel.hachim@accenture.com::35b68745-81ff-4c11-956b-d3a71da06ada" providerId="AD" clId="Web-{01BC26BA-0109-0DDF-36F9-3F3DD811FC12}" dt="2024-02-26T08:10:52.895" v="38" actId="20577"/>
      <pc:docMkLst>
        <pc:docMk/>
      </pc:docMkLst>
      <pc:sldChg chg="modSp new">
        <pc:chgData name="Hachim, Adel" userId="S::adel.hachim@accenture.com::35b68745-81ff-4c11-956b-d3a71da06ada" providerId="AD" clId="Web-{01BC26BA-0109-0DDF-36F9-3F3DD811FC12}" dt="2024-02-26T08:10:52.895" v="38" actId="20577"/>
        <pc:sldMkLst>
          <pc:docMk/>
          <pc:sldMk cId="1635322474" sldId="1367"/>
        </pc:sldMkLst>
        <pc:spChg chg="mod">
          <ac:chgData name="Hachim, Adel" userId="S::adel.hachim@accenture.com::35b68745-81ff-4c11-956b-d3a71da06ada" providerId="AD" clId="Web-{01BC26BA-0109-0DDF-36F9-3F3DD811FC12}" dt="2024-02-26T08:06:34.182" v="7" actId="20577"/>
          <ac:spMkLst>
            <pc:docMk/>
            <pc:sldMk cId="1635322474" sldId="1367"/>
            <ac:spMk id="4" creationId="{77EFDFA8-BD7C-3D3F-8321-74FE515F0294}"/>
          </ac:spMkLst>
        </pc:spChg>
        <pc:spChg chg="mod">
          <ac:chgData name="Hachim, Adel" userId="S::adel.hachim@accenture.com::35b68745-81ff-4c11-956b-d3a71da06ada" providerId="AD" clId="Web-{01BC26BA-0109-0DDF-36F9-3F3DD811FC12}" dt="2024-02-26T08:10:52.895" v="38" actId="20577"/>
          <ac:spMkLst>
            <pc:docMk/>
            <pc:sldMk cId="1635322474" sldId="1367"/>
            <ac:spMk id="8" creationId="{25AC138F-CE17-8286-7F11-15E8935E37CB}"/>
          </ac:spMkLst>
        </pc:spChg>
        <pc:spChg chg="mod">
          <ac:chgData name="Hachim, Adel" userId="S::adel.hachim@accenture.com::35b68745-81ff-4c11-956b-d3a71da06ada" providerId="AD" clId="Web-{01BC26BA-0109-0DDF-36F9-3F3DD811FC12}" dt="2024-02-26T08:08:00.435" v="22" actId="20577"/>
          <ac:spMkLst>
            <pc:docMk/>
            <pc:sldMk cId="1635322474" sldId="1367"/>
            <ac:spMk id="9" creationId="{4374EEA8-79AE-66DD-2654-A91F24D6993A}"/>
          </ac:spMkLst>
        </pc:spChg>
      </pc:sldChg>
    </pc:docChg>
  </pc:docChgLst>
  <pc:docChgLst>
    <pc:chgData name="Korneta, Iga" userId="S::iga.korneta@accenture.com::5bb3f265-4f39-4daa-912c-5caa86b505fb" providerId="AD" clId="Web-{60C06A14-C718-5FBA-9D84-C0C78495C450}"/>
    <pc:docChg chg="addSld delSld modSection">
      <pc:chgData name="Korneta, Iga" userId="S::iga.korneta@accenture.com::5bb3f265-4f39-4daa-912c-5caa86b505fb" providerId="AD" clId="Web-{60C06A14-C718-5FBA-9D84-C0C78495C450}" dt="2024-03-22T07:36:47.922" v="3"/>
      <pc:docMkLst>
        <pc:docMk/>
      </pc:docMkLst>
      <pc:sldChg chg="add del replId">
        <pc:chgData name="Korneta, Iga" userId="S::iga.korneta@accenture.com::5bb3f265-4f39-4daa-912c-5caa86b505fb" providerId="AD" clId="Web-{60C06A14-C718-5FBA-9D84-C0C78495C450}" dt="2024-03-22T07:36:47.922" v="3"/>
        <pc:sldMkLst>
          <pc:docMk/>
          <pc:sldMk cId="837069557" sldId="1372"/>
        </pc:sldMkLst>
      </pc:sldChg>
      <pc:sldChg chg="add del replId">
        <pc:chgData name="Korneta, Iga" userId="S::iga.korneta@accenture.com::5bb3f265-4f39-4daa-912c-5caa86b505fb" providerId="AD" clId="Web-{60C06A14-C718-5FBA-9D84-C0C78495C450}" dt="2024-03-22T07:31:29.582" v="1"/>
        <pc:sldMkLst>
          <pc:docMk/>
          <pc:sldMk cId="3972646704" sldId="1372"/>
        </pc:sldMkLst>
      </pc:sld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17BD24-DE74-4D49-9265-01EC687291D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619364"/>
          </a:xfrm>
          <a:prstGeom prst="rect">
            <a:avLst/>
          </a:prstGeom>
        </p:spPr>
        <p:txBody>
          <a:bodyPr vert="horz" lIns="136376" tIns="68189" rIns="136376" bIns="68189" rtlCol="0"/>
          <a:lstStyle>
            <a:lvl1pPr algn="l">
              <a:defRPr sz="18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EA36D9-5C80-4873-9534-B5F52FEDC51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9" y="1"/>
            <a:ext cx="3169920" cy="619364"/>
          </a:xfrm>
          <a:prstGeom prst="rect">
            <a:avLst/>
          </a:prstGeom>
        </p:spPr>
        <p:txBody>
          <a:bodyPr vert="horz" lIns="136376" tIns="68189" rIns="136376" bIns="68189" rtlCol="0"/>
          <a:lstStyle>
            <a:lvl1pPr algn="r">
              <a:defRPr sz="1800"/>
            </a:lvl1pPr>
          </a:lstStyle>
          <a:p>
            <a:fld id="{74734E50-475A-41D5-878D-0E3C5296640B}" type="datetimeFigureOut">
              <a:rPr lang="en-US" smtClean="0"/>
              <a:t>4/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E87DF5-E07B-4138-A283-8DF0E74672F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1725042"/>
            <a:ext cx="3169920" cy="619361"/>
          </a:xfrm>
          <a:prstGeom prst="rect">
            <a:avLst/>
          </a:prstGeom>
        </p:spPr>
        <p:txBody>
          <a:bodyPr vert="horz" lIns="136376" tIns="68189" rIns="136376" bIns="68189" rtlCol="0" anchor="b"/>
          <a:lstStyle>
            <a:lvl1pPr algn="l">
              <a:defRPr sz="18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090CC1-3908-4A8C-9F63-F54FACD377F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9" y="11725042"/>
            <a:ext cx="3169920" cy="619361"/>
          </a:xfrm>
          <a:prstGeom prst="rect">
            <a:avLst/>
          </a:prstGeom>
        </p:spPr>
        <p:txBody>
          <a:bodyPr vert="horz" lIns="136376" tIns="68189" rIns="136376" bIns="68189" rtlCol="0" anchor="b"/>
          <a:lstStyle>
            <a:lvl1pPr algn="r">
              <a:defRPr sz="1800"/>
            </a:lvl1pPr>
          </a:lstStyle>
          <a:p>
            <a:fld id="{54BD22B3-4FA2-4B84-B833-315844BC95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9054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1950720" cy="286710"/>
          </a:xfrm>
          <a:prstGeom prst="rect">
            <a:avLst/>
          </a:prstGeom>
        </p:spPr>
        <p:txBody>
          <a:bodyPr vert="horz" lIns="136376" tIns="68189" rIns="136376" bIns="68189" rtlCol="0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62789" y="2"/>
            <a:ext cx="1950720" cy="286710"/>
          </a:xfrm>
          <a:prstGeom prst="rect">
            <a:avLst/>
          </a:prstGeom>
        </p:spPr>
        <p:txBody>
          <a:bodyPr vert="horz" lIns="136376" tIns="68189" rIns="136376" bIns="68189" rtlCol="0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4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614363" y="373063"/>
            <a:ext cx="6384926" cy="3592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376" tIns="68189" rIns="136376" bIns="681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3556" y="4049467"/>
            <a:ext cx="7201867" cy="792435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12047156"/>
            <a:ext cx="6632446" cy="286710"/>
          </a:xfrm>
          <a:prstGeom prst="rect">
            <a:avLst/>
          </a:prstGeom>
        </p:spPr>
        <p:txBody>
          <a:bodyPr vert="horz" lIns="136376" tIns="68189" rIns="136376" bIns="68189" rtlCol="0" anchor="b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825829" y="12038964"/>
            <a:ext cx="487680" cy="294901"/>
          </a:xfrm>
          <a:prstGeom prst="rect">
            <a:avLst/>
          </a:prstGeom>
        </p:spPr>
        <p:txBody>
          <a:bodyPr vert="horz" lIns="136376" tIns="68189" rIns="136376" bIns="68189" rtlCol="0" anchor="b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Arial" panose="020B0604020202020204" pitchFamily="34" charset="0"/>
      <a:buChar char="•"/>
      <a:defRPr sz="1000">
        <a:latin typeface="+mn-lt"/>
      </a:defRPr>
    </a:lvl2pPr>
    <a:lvl3pPr marL="342900" indent="-112713" algn="l">
      <a:buFont typeface="Arial" panose="020B0604020202020204" pitchFamily="34" charset="0"/>
      <a:buChar char="•"/>
      <a:defRPr sz="900">
        <a:latin typeface="+mn-lt"/>
      </a:defRPr>
    </a:lvl3pPr>
    <a:lvl4pPr marL="460375" indent="-112713" algn="l">
      <a:buFont typeface="Arial" panose="020B0604020202020204" pitchFamily="34" charset="0"/>
      <a:buChar char="•"/>
      <a:defRPr sz="800">
        <a:latin typeface="+mn-lt"/>
      </a:defRPr>
    </a:lvl4pPr>
    <a:lvl5pPr marL="571500" indent="-112713" algn="l">
      <a:buFont typeface="Arial" panose="020B0604020202020204" pitchFamily="34" charset="0"/>
      <a:buChar char="•"/>
      <a:defRPr sz="800">
        <a:latin typeface="+mn-lt"/>
      </a:defRPr>
    </a:lvl5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612775" y="373063"/>
            <a:ext cx="6386513" cy="3592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err="1"/>
              <a:t>anna.adamczy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595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612775" y="373063"/>
            <a:ext cx="6386513" cy="3592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err="1"/>
              <a:t>anna.adamczy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498443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4.xml"/><Relationship Id="rId3" Type="http://schemas.openxmlformats.org/officeDocument/2006/relationships/image" Target="../media/image11.png"/><Relationship Id="rId4" Type="http://schemas.openxmlformats.org/officeDocument/2006/relationships/image" Target="../media/image1.jpeg"/></Relationships>
</file>

<file path=ppt/slideLayouts/_rels/slideLayout104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4.xml"/><Relationship Id="rId3" Type="http://schemas.openxmlformats.org/officeDocument/2006/relationships/image" Target="../media/image11.png"/><Relationship Id="rId4" Type="http://schemas.openxmlformats.org/officeDocument/2006/relationships/image" Target="../media/image1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5.sv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5.sv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jpe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jpe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jpe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11.png"/><Relationship Id="rId4" Type="http://schemas.openxmlformats.org/officeDocument/2006/relationships/image" Target="../media/image1.jpe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11.png"/><Relationship Id="rId4" Type="http://schemas.openxmlformats.org/officeDocument/2006/relationships/image" Target="../media/image1.jpeg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4.png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3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5.emf"/><Relationship Id="rId5" Type="http://schemas.openxmlformats.org/officeDocument/2006/relationships/image" Target="../media/image16.jpeg"/><Relationship Id="rId6" Type="http://schemas.openxmlformats.org/officeDocument/2006/relationships/image" Target="../media/image17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3.xml"/><Relationship Id="rId3" Type="http://schemas.openxmlformats.org/officeDocument/2006/relationships/image" Target="../media/image11.png"/><Relationship Id="rId4" Type="http://schemas.openxmlformats.org/officeDocument/2006/relationships/image" Target="../media/image1.jpe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jpe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svg"/></Relationships>
</file>

<file path=ppt/slideLayouts/_rels/slideLayout6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5.svg"/></Relationships>
</file>

<file path=ppt/slideLayouts/_rels/slideLayout6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Relationship Id="rId3" Type="http://schemas.openxmlformats.org/officeDocument/2006/relationships/image" Target="../media/image5.svg"/></Relationships>
</file>

<file path=ppt/slideLayouts/_rels/slideLayout7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jpeg"/></Relationships>
</file>

<file path=ppt/slideLayouts/_rels/slideLayout7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7.jpeg"/></Relationships>
</file>

<file path=ppt/slideLayouts/_rels/slideLayout7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jpeg"/></Relationships>
</file>

<file path=ppt/slideLayouts/_rels/slideLayout7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9.png"/></Relationships>
</file>

<file path=ppt/slideLayouts/_rels/slideLayout9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/Relationships>
</file>

<file path=ppt/slideLayouts/_rels/slideLayout9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1.png"/></Relationships>
</file>

<file path=ppt/slideLayouts/_rels/slideLayout9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1.png"/></Relationships>
</file>

<file path=ppt/slideLayouts/_rels/slideLayout9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jpeg"/></Relationships>
</file>

<file path=ppt/slideLayouts/_rels/slideLayout9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30F33-3407-8BF6-3D51-6369BB354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695055-4714-5BFA-A762-044AFAA3B9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E0A47B-31B4-9263-C02B-D90D6A8C1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17E045-CB33-DD33-DDC3-016356F64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2FAAF1-95D9-38D2-9799-DE03149F0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6058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546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2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C32AC5-FD59-4897-A83F-88E496C1AF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98638" y="2660650"/>
            <a:ext cx="1735137" cy="81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2645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938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ccenture Greater Than symbol in white">
            <a:extLst>
              <a:ext uri="{FF2B5EF4-FFF2-40B4-BE49-F238E27FC236}">
                <a16:creationId xmlns:a16="http://schemas.microsoft.com/office/drawing/2014/main" id="{9DEA0E7F-4F0B-4028-9DCD-1D5D599C5A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A100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1783987" y="6522601"/>
            <a:ext cx="191087" cy="2023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45D549-9B0D-43BF-B4D5-F60832335E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85" r="30397" b="31908"/>
          <a:stretch/>
        </p:blipFill>
        <p:spPr bwMode="invGray">
          <a:xfrm>
            <a:off x="1802" y="2620706"/>
            <a:ext cx="2640814" cy="4237293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B1727A3-A4C0-44D9-9D35-05D3DD38FFD6}"/>
              </a:ext>
            </a:extLst>
          </p:cNvPr>
          <p:cNvSpPr txBox="1">
            <a:spLocks/>
          </p:cNvSpPr>
          <p:nvPr userDrawn="1"/>
        </p:nvSpPr>
        <p:spPr>
          <a:xfrm>
            <a:off x="407840" y="2754154"/>
            <a:ext cx="219679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Roboto Medium" panose="02000000000000000000" pitchFamily="2" charset="0"/>
                <a:cs typeface="+mn-cs"/>
              </a:rPr>
              <a:t>About m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E828E6-CC30-4950-97D5-B5ED59078F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167" y="2801322"/>
            <a:ext cx="182880" cy="200133"/>
            <a:chOff x="873570" y="2923982"/>
            <a:chExt cx="308751" cy="337878"/>
          </a:xfrm>
        </p:grpSpPr>
        <p:sp>
          <p:nvSpPr>
            <p:cNvPr id="12" name="Freeform 165">
              <a:extLst>
                <a:ext uri="{FF2B5EF4-FFF2-40B4-BE49-F238E27FC236}">
                  <a16:creationId xmlns:a16="http://schemas.microsoft.com/office/drawing/2014/main" id="{0DB34C81-406B-4E6D-A240-8BB1827CE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4058" y="2923982"/>
              <a:ext cx="207776" cy="201951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  <p:sp>
          <p:nvSpPr>
            <p:cNvPr id="13" name="Freeform 166">
              <a:extLst>
                <a:ext uri="{FF2B5EF4-FFF2-40B4-BE49-F238E27FC236}">
                  <a16:creationId xmlns:a16="http://schemas.microsoft.com/office/drawing/2014/main" id="{219B28DA-9A70-467F-B269-500F4B753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570" y="3092921"/>
              <a:ext cx="308751" cy="16893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2 w 108"/>
                <a:gd name="T13" fmla="*/ 48 h 60"/>
                <a:gd name="T14" fmla="*/ 95 w 108"/>
                <a:gd name="T15" fmla="*/ 48 h 60"/>
                <a:gd name="T16" fmla="*/ 54 w 108"/>
                <a:gd name="T17" fmla="*/ 12 h 60"/>
                <a:gd name="T18" fmla="*/ 12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7"/>
                    <a:pt x="105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5" y="48"/>
                    <a:pt x="95" y="48"/>
                    <a:pt x="95" y="48"/>
                  </a:cubicBezTo>
                  <a:cubicBezTo>
                    <a:pt x="93" y="27"/>
                    <a:pt x="75" y="12"/>
                    <a:pt x="54" y="12"/>
                  </a:cubicBezTo>
                  <a:cubicBezTo>
                    <a:pt x="33" y="12"/>
                    <a:pt x="15" y="27"/>
                    <a:pt x="12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</p:grpSp>
      <p:grpSp>
        <p:nvGrpSpPr>
          <p:cNvPr id="14" name="Group 169">
            <a:extLst>
              <a:ext uri="{FF2B5EF4-FFF2-40B4-BE49-F238E27FC236}">
                <a16:creationId xmlns:a16="http://schemas.microsoft.com/office/drawing/2014/main" id="{CC4E72F0-3299-4EFE-B018-3B85E693F96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5167" y="4931606"/>
            <a:ext cx="274320" cy="283018"/>
            <a:chOff x="2605" y="3204"/>
            <a:chExt cx="410" cy="423"/>
          </a:xfrm>
          <a:solidFill>
            <a:srgbClr val="FFFFFF"/>
          </a:solidFill>
        </p:grpSpPr>
        <p:sp>
          <p:nvSpPr>
            <p:cNvPr id="15" name="Freeform 170">
              <a:extLst>
                <a:ext uri="{FF2B5EF4-FFF2-40B4-BE49-F238E27FC236}">
                  <a16:creationId xmlns:a16="http://schemas.microsoft.com/office/drawing/2014/main" id="{E08DD1DF-F9B9-4EA6-9B1B-6CF735874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" y="3378"/>
              <a:ext cx="214" cy="249"/>
            </a:xfrm>
            <a:custGeom>
              <a:avLst/>
              <a:gdLst>
                <a:gd name="T0" fmla="*/ 66 w 144"/>
                <a:gd name="T1" fmla="*/ 168 h 168"/>
                <a:gd name="T2" fmla="*/ 63 w 144"/>
                <a:gd name="T3" fmla="*/ 167 h 168"/>
                <a:gd name="T4" fmla="*/ 3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3 w 144"/>
                <a:gd name="T11" fmla="*/ 40 h 168"/>
                <a:gd name="T12" fmla="*/ 63 w 144"/>
                <a:gd name="T13" fmla="*/ 1 h 168"/>
                <a:gd name="T14" fmla="*/ 69 w 144"/>
                <a:gd name="T15" fmla="*/ 1 h 168"/>
                <a:gd name="T16" fmla="*/ 141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1 w 144"/>
                <a:gd name="T23" fmla="*/ 128 h 168"/>
                <a:gd name="T24" fmla="*/ 69 w 144"/>
                <a:gd name="T25" fmla="*/ 167 h 168"/>
                <a:gd name="T26" fmla="*/ 66 w 144"/>
                <a:gd name="T27" fmla="*/ 168 h 168"/>
                <a:gd name="T28" fmla="*/ 12 w 144"/>
                <a:gd name="T29" fmla="*/ 120 h 168"/>
                <a:gd name="T30" fmla="*/ 67 w 144"/>
                <a:gd name="T31" fmla="*/ 155 h 168"/>
                <a:gd name="T32" fmla="*/ 132 w 144"/>
                <a:gd name="T33" fmla="*/ 120 h 168"/>
                <a:gd name="T34" fmla="*/ 132 w 144"/>
                <a:gd name="T35" fmla="*/ 49 h 168"/>
                <a:gd name="T36" fmla="*/ 67 w 144"/>
                <a:gd name="T37" fmla="*/ 13 h 168"/>
                <a:gd name="T38" fmla="*/ 12 w 144"/>
                <a:gd name="T39" fmla="*/ 48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66" y="168"/>
                  </a:moveTo>
                  <a:cubicBezTo>
                    <a:pt x="65" y="168"/>
                    <a:pt x="64" y="168"/>
                    <a:pt x="63" y="167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1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1" y="41"/>
                    <a:pt x="3" y="4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5" y="0"/>
                    <a:pt x="67" y="0"/>
                    <a:pt x="69" y="1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1" y="128"/>
                  </a:cubicBezTo>
                  <a:cubicBezTo>
                    <a:pt x="69" y="167"/>
                    <a:pt x="69" y="167"/>
                    <a:pt x="69" y="167"/>
                  </a:cubicBezTo>
                  <a:cubicBezTo>
                    <a:pt x="68" y="168"/>
                    <a:pt x="67" y="168"/>
                    <a:pt x="66" y="168"/>
                  </a:cubicBezTo>
                  <a:close/>
                  <a:moveTo>
                    <a:pt x="12" y="120"/>
                  </a:moveTo>
                  <a:cubicBezTo>
                    <a:pt x="67" y="155"/>
                    <a:pt x="67" y="155"/>
                    <a:pt x="67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12" y="48"/>
                    <a:pt x="12" y="48"/>
                    <a:pt x="12" y="48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6" name="Freeform 171">
              <a:extLst>
                <a:ext uri="{FF2B5EF4-FFF2-40B4-BE49-F238E27FC236}">
                  <a16:creationId xmlns:a16="http://schemas.microsoft.com/office/drawing/2014/main" id="{33EE6036-27E8-4C43-A1FD-338A7402E5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" y="3378"/>
              <a:ext cx="214" cy="249"/>
            </a:xfrm>
            <a:custGeom>
              <a:avLst/>
              <a:gdLst>
                <a:gd name="T0" fmla="*/ 78 w 144"/>
                <a:gd name="T1" fmla="*/ 168 h 168"/>
                <a:gd name="T2" fmla="*/ 76 w 144"/>
                <a:gd name="T3" fmla="*/ 167 h 168"/>
                <a:gd name="T4" fmla="*/ 4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4 w 144"/>
                <a:gd name="T11" fmla="*/ 40 h 168"/>
                <a:gd name="T12" fmla="*/ 76 w 144"/>
                <a:gd name="T13" fmla="*/ 1 h 168"/>
                <a:gd name="T14" fmla="*/ 82 w 144"/>
                <a:gd name="T15" fmla="*/ 1 h 168"/>
                <a:gd name="T16" fmla="*/ 142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2 w 144"/>
                <a:gd name="T23" fmla="*/ 128 h 168"/>
                <a:gd name="T24" fmla="*/ 82 w 144"/>
                <a:gd name="T25" fmla="*/ 167 h 168"/>
                <a:gd name="T26" fmla="*/ 78 w 144"/>
                <a:gd name="T27" fmla="*/ 168 h 168"/>
                <a:gd name="T28" fmla="*/ 12 w 144"/>
                <a:gd name="T29" fmla="*/ 120 h 168"/>
                <a:gd name="T30" fmla="*/ 78 w 144"/>
                <a:gd name="T31" fmla="*/ 155 h 168"/>
                <a:gd name="T32" fmla="*/ 132 w 144"/>
                <a:gd name="T33" fmla="*/ 120 h 168"/>
                <a:gd name="T34" fmla="*/ 132 w 144"/>
                <a:gd name="T35" fmla="*/ 48 h 168"/>
                <a:gd name="T36" fmla="*/ 78 w 144"/>
                <a:gd name="T37" fmla="*/ 13 h 168"/>
                <a:gd name="T38" fmla="*/ 12 w 144"/>
                <a:gd name="T39" fmla="*/ 49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80" y="0"/>
                    <a:pt x="82" y="1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2" y="128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1" y="168"/>
                    <a:pt x="80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7" name="Freeform 172">
              <a:extLst>
                <a:ext uri="{FF2B5EF4-FFF2-40B4-BE49-F238E27FC236}">
                  <a16:creationId xmlns:a16="http://schemas.microsoft.com/office/drawing/2014/main" id="{2AAA9EE7-A458-4D41-8F96-C74AE9DC12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4" y="3204"/>
              <a:ext cx="232" cy="250"/>
            </a:xfrm>
            <a:custGeom>
              <a:avLst/>
              <a:gdLst>
                <a:gd name="T0" fmla="*/ 78 w 156"/>
                <a:gd name="T1" fmla="*/ 168 h 168"/>
                <a:gd name="T2" fmla="*/ 76 w 156"/>
                <a:gd name="T3" fmla="*/ 167 h 168"/>
                <a:gd name="T4" fmla="*/ 4 w 156"/>
                <a:gd name="T5" fmla="*/ 128 h 168"/>
                <a:gd name="T6" fmla="*/ 0 w 156"/>
                <a:gd name="T7" fmla="*/ 123 h 168"/>
                <a:gd name="T8" fmla="*/ 0 w 156"/>
                <a:gd name="T9" fmla="*/ 45 h 168"/>
                <a:gd name="T10" fmla="*/ 4 w 156"/>
                <a:gd name="T11" fmla="*/ 40 h 168"/>
                <a:gd name="T12" fmla="*/ 76 w 156"/>
                <a:gd name="T13" fmla="*/ 1 h 168"/>
                <a:gd name="T14" fmla="*/ 81 w 156"/>
                <a:gd name="T15" fmla="*/ 1 h 168"/>
                <a:gd name="T16" fmla="*/ 153 w 156"/>
                <a:gd name="T17" fmla="*/ 40 h 168"/>
                <a:gd name="T18" fmla="*/ 156 w 156"/>
                <a:gd name="T19" fmla="*/ 45 h 168"/>
                <a:gd name="T20" fmla="*/ 156 w 156"/>
                <a:gd name="T21" fmla="*/ 123 h 168"/>
                <a:gd name="T22" fmla="*/ 153 w 156"/>
                <a:gd name="T23" fmla="*/ 128 h 168"/>
                <a:gd name="T24" fmla="*/ 81 w 156"/>
                <a:gd name="T25" fmla="*/ 167 h 168"/>
                <a:gd name="T26" fmla="*/ 78 w 156"/>
                <a:gd name="T27" fmla="*/ 168 h 168"/>
                <a:gd name="T28" fmla="*/ 12 w 156"/>
                <a:gd name="T29" fmla="*/ 120 h 168"/>
                <a:gd name="T30" fmla="*/ 78 w 156"/>
                <a:gd name="T31" fmla="*/ 155 h 168"/>
                <a:gd name="T32" fmla="*/ 144 w 156"/>
                <a:gd name="T33" fmla="*/ 120 h 168"/>
                <a:gd name="T34" fmla="*/ 144 w 156"/>
                <a:gd name="T35" fmla="*/ 49 h 168"/>
                <a:gd name="T36" fmla="*/ 78 w 156"/>
                <a:gd name="T37" fmla="*/ 13 h 168"/>
                <a:gd name="T38" fmla="*/ 12 w 156"/>
                <a:gd name="T39" fmla="*/ 49 h 168"/>
                <a:gd name="T40" fmla="*/ 12 w 156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6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80" y="0"/>
                    <a:pt x="81" y="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5" y="41"/>
                    <a:pt x="156" y="43"/>
                    <a:pt x="156" y="45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5"/>
                    <a:pt x="155" y="127"/>
                    <a:pt x="153" y="12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80" y="168"/>
                    <a:pt x="79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49"/>
                    <a:pt x="144" y="49"/>
                    <a:pt x="144" y="4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D1CA538A-F97A-485F-BA02-99CBBF3BE68C}"/>
              </a:ext>
            </a:extLst>
          </p:cNvPr>
          <p:cNvSpPr txBox="1">
            <a:spLocks/>
          </p:cNvSpPr>
          <p:nvPr userDrawn="1"/>
        </p:nvSpPr>
        <p:spPr>
          <a:xfrm>
            <a:off x="407840" y="4916970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>
                <a:solidFill>
                  <a:srgbClr val="FFFFFF"/>
                </a:solidFill>
                <a:latin typeface="Graphik"/>
              </a:rPr>
              <a:t>Industry experience</a:t>
            </a:r>
          </a:p>
        </p:txBody>
      </p:sp>
      <p:sp>
        <p:nvSpPr>
          <p:cNvPr id="19" name="Rechteck 5">
            <a:extLst>
              <a:ext uri="{FF2B5EF4-FFF2-40B4-BE49-F238E27FC236}">
                <a16:creationId xmlns:a16="http://schemas.microsoft.com/office/drawing/2014/main" id="{D1E7838B-6134-46EE-8E23-4302A047D69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2642616" y="1019706"/>
            <a:ext cx="9542241" cy="426864"/>
          </a:xfrm>
          <a:prstGeom prst="rect">
            <a:avLst/>
          </a:prstGeom>
          <a:pattFill prst="ltUpDiag">
            <a:fgClr>
              <a:srgbClr val="FFFFFF"/>
            </a:fgClr>
            <a:bgClr>
              <a:srgbClr val="E8ECEC"/>
            </a:bgClr>
          </a:patt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7759A8-84D9-4E83-A2DB-95B65584119E}"/>
              </a:ext>
            </a:extLst>
          </p:cNvPr>
          <p:cNvSpPr txBox="1"/>
          <p:nvPr userDrawn="1"/>
        </p:nvSpPr>
        <p:spPr>
          <a:xfrm>
            <a:off x="7970984" y="575354"/>
            <a:ext cx="4068000" cy="33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228600">
              <a:spcAft>
                <a:spcPts val="1200"/>
              </a:spcAft>
            </a:pPr>
            <a:r>
              <a:rPr lang="en-US" sz="2000">
                <a:solidFill>
                  <a:srgbClr val="000000"/>
                </a:solidFill>
                <a:latin typeface="Graphik"/>
              </a:rPr>
              <a:t>Accenture 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Data&amp;</a:t>
            </a:r>
            <a:r>
              <a:rPr lang="en-US" sz="2000">
                <a:solidFill>
                  <a:srgbClr val="000000"/>
                </a:solidFill>
                <a:latin typeface="Graphik"/>
              </a:rPr>
              <a:t>A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I</a:t>
            </a:r>
            <a:endParaRPr lang="en-US" sz="2000">
              <a:solidFill>
                <a:srgbClr val="000000"/>
              </a:solidFill>
              <a:latin typeface="Graphik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2D55710-BEDC-4028-93A6-EA9177018FF7}"/>
              </a:ext>
            </a:extLst>
          </p:cNvPr>
          <p:cNvSpPr txBox="1">
            <a:spLocks/>
          </p:cNvSpPr>
          <p:nvPr userDrawn="1"/>
        </p:nvSpPr>
        <p:spPr>
          <a:xfrm>
            <a:off x="9682733" y="1556713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>
                <a:solidFill>
                  <a:srgbClr val="7500C0"/>
                </a:solidFill>
                <a:latin typeface="Graphik"/>
              </a:rPr>
              <a:t>Education</a:t>
            </a:r>
          </a:p>
        </p:txBody>
      </p:sp>
      <p:grpSp>
        <p:nvGrpSpPr>
          <p:cNvPr id="22" name="Group 209">
            <a:extLst>
              <a:ext uri="{FF2B5EF4-FFF2-40B4-BE49-F238E27FC236}">
                <a16:creationId xmlns:a16="http://schemas.microsoft.com/office/drawing/2014/main" id="{BED3242A-6E79-48C6-A851-271F22DD82B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18492" y="1614364"/>
            <a:ext cx="274320" cy="268099"/>
            <a:chOff x="5687" y="662"/>
            <a:chExt cx="441" cy="431"/>
          </a:xfrm>
          <a:solidFill>
            <a:srgbClr val="7500C0"/>
          </a:solidFill>
        </p:grpSpPr>
        <p:sp>
          <p:nvSpPr>
            <p:cNvPr id="23" name="Freeform 210">
              <a:extLst>
                <a:ext uri="{FF2B5EF4-FFF2-40B4-BE49-F238E27FC236}">
                  <a16:creationId xmlns:a16="http://schemas.microsoft.com/office/drawing/2014/main" id="{C036DE7B-1825-4016-A4A1-2F39D4212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7" y="930"/>
              <a:ext cx="441" cy="163"/>
            </a:xfrm>
            <a:custGeom>
              <a:avLst/>
              <a:gdLst>
                <a:gd name="T0" fmla="*/ 282 w 288"/>
                <a:gd name="T1" fmla="*/ 109 h 109"/>
                <a:gd name="T2" fmla="*/ 6 w 288"/>
                <a:gd name="T3" fmla="*/ 109 h 109"/>
                <a:gd name="T4" fmla="*/ 0 w 288"/>
                <a:gd name="T5" fmla="*/ 103 h 109"/>
                <a:gd name="T6" fmla="*/ 0 w 288"/>
                <a:gd name="T7" fmla="*/ 73 h 109"/>
                <a:gd name="T8" fmla="*/ 35 w 288"/>
                <a:gd name="T9" fmla="*/ 22 h 109"/>
                <a:gd name="T10" fmla="*/ 36 w 288"/>
                <a:gd name="T11" fmla="*/ 22 h 109"/>
                <a:gd name="T12" fmla="*/ 112 w 288"/>
                <a:gd name="T13" fmla="*/ 1 h 109"/>
                <a:gd name="T14" fmla="*/ 119 w 288"/>
                <a:gd name="T15" fmla="*/ 5 h 109"/>
                <a:gd name="T16" fmla="*/ 115 w 288"/>
                <a:gd name="T17" fmla="*/ 13 h 109"/>
                <a:gd name="T18" fmla="*/ 39 w 288"/>
                <a:gd name="T19" fmla="*/ 34 h 109"/>
                <a:gd name="T20" fmla="*/ 12 w 288"/>
                <a:gd name="T21" fmla="*/ 73 h 109"/>
                <a:gd name="T22" fmla="*/ 12 w 288"/>
                <a:gd name="T23" fmla="*/ 97 h 109"/>
                <a:gd name="T24" fmla="*/ 276 w 288"/>
                <a:gd name="T25" fmla="*/ 97 h 109"/>
                <a:gd name="T26" fmla="*/ 276 w 288"/>
                <a:gd name="T27" fmla="*/ 73 h 109"/>
                <a:gd name="T28" fmla="*/ 249 w 288"/>
                <a:gd name="T29" fmla="*/ 34 h 109"/>
                <a:gd name="T30" fmla="*/ 173 w 288"/>
                <a:gd name="T31" fmla="*/ 13 h 109"/>
                <a:gd name="T32" fmla="*/ 169 w 288"/>
                <a:gd name="T33" fmla="*/ 5 h 109"/>
                <a:gd name="T34" fmla="*/ 176 w 288"/>
                <a:gd name="T35" fmla="*/ 1 h 109"/>
                <a:gd name="T36" fmla="*/ 253 w 288"/>
                <a:gd name="T37" fmla="*/ 22 h 109"/>
                <a:gd name="T38" fmla="*/ 253 w 288"/>
                <a:gd name="T39" fmla="*/ 22 h 109"/>
                <a:gd name="T40" fmla="*/ 288 w 288"/>
                <a:gd name="T41" fmla="*/ 73 h 109"/>
                <a:gd name="T42" fmla="*/ 288 w 288"/>
                <a:gd name="T43" fmla="*/ 103 h 109"/>
                <a:gd name="T44" fmla="*/ 282 w 288"/>
                <a:gd name="T4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8" h="109">
                  <a:moveTo>
                    <a:pt x="282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14" y="30"/>
                    <a:pt x="35" y="22"/>
                  </a:cubicBezTo>
                  <a:cubicBezTo>
                    <a:pt x="35" y="22"/>
                    <a:pt x="36" y="22"/>
                    <a:pt x="36" y="22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5" y="0"/>
                    <a:pt x="118" y="2"/>
                    <a:pt x="119" y="5"/>
                  </a:cubicBezTo>
                  <a:cubicBezTo>
                    <a:pt x="120" y="8"/>
                    <a:pt x="118" y="12"/>
                    <a:pt x="115" y="1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23" y="40"/>
                    <a:pt x="12" y="56"/>
                    <a:pt x="12" y="7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276" y="97"/>
                    <a:pt x="276" y="97"/>
                    <a:pt x="276" y="97"/>
                  </a:cubicBezTo>
                  <a:cubicBezTo>
                    <a:pt x="276" y="73"/>
                    <a:pt x="276" y="73"/>
                    <a:pt x="276" y="73"/>
                  </a:cubicBezTo>
                  <a:cubicBezTo>
                    <a:pt x="276" y="56"/>
                    <a:pt x="265" y="40"/>
                    <a:pt x="249" y="3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0" y="12"/>
                    <a:pt x="168" y="8"/>
                    <a:pt x="169" y="5"/>
                  </a:cubicBezTo>
                  <a:cubicBezTo>
                    <a:pt x="170" y="2"/>
                    <a:pt x="173" y="0"/>
                    <a:pt x="176" y="1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74" y="30"/>
                    <a:pt x="288" y="50"/>
                    <a:pt x="288" y="73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8" y="106"/>
                    <a:pt x="286" y="109"/>
                    <a:pt x="282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4" name="Freeform 211">
              <a:extLst>
                <a:ext uri="{FF2B5EF4-FFF2-40B4-BE49-F238E27FC236}">
                  <a16:creationId xmlns:a16="http://schemas.microsoft.com/office/drawing/2014/main" id="{E6793C43-D202-4501-849F-0E17B8AA4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3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  <a:gd name="T38" fmla="*/ 12 w 36"/>
                <a:gd name="T3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5" name="Freeform 212">
              <a:extLst>
                <a:ext uri="{FF2B5EF4-FFF2-40B4-BE49-F238E27FC236}">
                  <a16:creationId xmlns:a16="http://schemas.microsoft.com/office/drawing/2014/main" id="{F3A778EF-8185-445A-B5B9-107C127B8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6" name="Freeform 213">
              <a:extLst>
                <a:ext uri="{FF2B5EF4-FFF2-40B4-BE49-F238E27FC236}">
                  <a16:creationId xmlns:a16="http://schemas.microsoft.com/office/drawing/2014/main" id="{743A6F23-D66B-418F-B749-B29DF5228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" y="761"/>
              <a:ext cx="130" cy="206"/>
            </a:xfrm>
            <a:custGeom>
              <a:avLst/>
              <a:gdLst>
                <a:gd name="T0" fmla="*/ 79 w 85"/>
                <a:gd name="T1" fmla="*/ 138 h 138"/>
                <a:gd name="T2" fmla="*/ 13 w 85"/>
                <a:gd name="T3" fmla="*/ 77 h 138"/>
                <a:gd name="T4" fmla="*/ 0 w 85"/>
                <a:gd name="T5" fmla="*/ 54 h 138"/>
                <a:gd name="T6" fmla="*/ 13 w 85"/>
                <a:gd name="T7" fmla="*/ 31 h 138"/>
                <a:gd name="T8" fmla="*/ 13 w 85"/>
                <a:gd name="T9" fmla="*/ 6 h 138"/>
                <a:gd name="T10" fmla="*/ 19 w 85"/>
                <a:gd name="T11" fmla="*/ 0 h 138"/>
                <a:gd name="T12" fmla="*/ 25 w 85"/>
                <a:gd name="T13" fmla="*/ 6 h 138"/>
                <a:gd name="T14" fmla="*/ 25 w 85"/>
                <a:gd name="T15" fmla="*/ 36 h 138"/>
                <a:gd name="T16" fmla="*/ 19 w 85"/>
                <a:gd name="T17" fmla="*/ 42 h 138"/>
                <a:gd name="T18" fmla="*/ 12 w 85"/>
                <a:gd name="T19" fmla="*/ 54 h 138"/>
                <a:gd name="T20" fmla="*/ 19 w 85"/>
                <a:gd name="T21" fmla="*/ 66 h 138"/>
                <a:gd name="T22" fmla="*/ 25 w 85"/>
                <a:gd name="T23" fmla="*/ 72 h 138"/>
                <a:gd name="T24" fmla="*/ 79 w 85"/>
                <a:gd name="T25" fmla="*/ 126 h 138"/>
                <a:gd name="T26" fmla="*/ 85 w 85"/>
                <a:gd name="T27" fmla="*/ 132 h 138"/>
                <a:gd name="T28" fmla="*/ 79 w 85"/>
                <a:gd name="T2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8">
                  <a:moveTo>
                    <a:pt x="79" y="138"/>
                  </a:moveTo>
                  <a:cubicBezTo>
                    <a:pt x="60" y="138"/>
                    <a:pt x="17" y="114"/>
                    <a:pt x="13" y="77"/>
                  </a:cubicBezTo>
                  <a:cubicBezTo>
                    <a:pt x="5" y="74"/>
                    <a:pt x="0" y="65"/>
                    <a:pt x="0" y="54"/>
                  </a:cubicBezTo>
                  <a:cubicBezTo>
                    <a:pt x="0" y="43"/>
                    <a:pt x="5" y="34"/>
                    <a:pt x="13" y="3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"/>
                    <a:pt x="16" y="0"/>
                    <a:pt x="19" y="0"/>
                  </a:cubicBezTo>
                  <a:cubicBezTo>
                    <a:pt x="23" y="0"/>
                    <a:pt x="25" y="3"/>
                    <a:pt x="25" y="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9"/>
                    <a:pt x="23" y="42"/>
                    <a:pt x="19" y="42"/>
                  </a:cubicBezTo>
                  <a:cubicBezTo>
                    <a:pt x="13" y="42"/>
                    <a:pt x="12" y="50"/>
                    <a:pt x="12" y="54"/>
                  </a:cubicBezTo>
                  <a:cubicBezTo>
                    <a:pt x="12" y="58"/>
                    <a:pt x="13" y="66"/>
                    <a:pt x="19" y="66"/>
                  </a:cubicBezTo>
                  <a:cubicBezTo>
                    <a:pt x="23" y="66"/>
                    <a:pt x="25" y="69"/>
                    <a:pt x="25" y="72"/>
                  </a:cubicBezTo>
                  <a:cubicBezTo>
                    <a:pt x="25" y="103"/>
                    <a:pt x="63" y="126"/>
                    <a:pt x="79" y="126"/>
                  </a:cubicBezTo>
                  <a:cubicBezTo>
                    <a:pt x="83" y="126"/>
                    <a:pt x="85" y="129"/>
                    <a:pt x="85" y="132"/>
                  </a:cubicBezTo>
                  <a:cubicBezTo>
                    <a:pt x="85" y="135"/>
                    <a:pt x="83" y="138"/>
                    <a:pt x="79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7" name="Freeform 214">
              <a:extLst>
                <a:ext uri="{FF2B5EF4-FFF2-40B4-BE49-F238E27FC236}">
                  <a16:creationId xmlns:a16="http://schemas.microsoft.com/office/drawing/2014/main" id="{9DEB99C5-9375-45D6-9458-2191255BE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8" y="761"/>
              <a:ext cx="132" cy="206"/>
            </a:xfrm>
            <a:custGeom>
              <a:avLst/>
              <a:gdLst>
                <a:gd name="T0" fmla="*/ 6 w 86"/>
                <a:gd name="T1" fmla="*/ 138 h 138"/>
                <a:gd name="T2" fmla="*/ 0 w 86"/>
                <a:gd name="T3" fmla="*/ 132 h 138"/>
                <a:gd name="T4" fmla="*/ 6 w 86"/>
                <a:gd name="T5" fmla="*/ 126 h 138"/>
                <a:gd name="T6" fmla="*/ 60 w 86"/>
                <a:gd name="T7" fmla="*/ 72 h 138"/>
                <a:gd name="T8" fmla="*/ 66 w 86"/>
                <a:gd name="T9" fmla="*/ 66 h 138"/>
                <a:gd name="T10" fmla="*/ 71 w 86"/>
                <a:gd name="T11" fmla="*/ 63 h 138"/>
                <a:gd name="T12" fmla="*/ 74 w 86"/>
                <a:gd name="T13" fmla="*/ 54 h 138"/>
                <a:gd name="T14" fmla="*/ 66 w 86"/>
                <a:gd name="T15" fmla="*/ 42 h 138"/>
                <a:gd name="T16" fmla="*/ 60 w 86"/>
                <a:gd name="T17" fmla="*/ 36 h 138"/>
                <a:gd name="T18" fmla="*/ 60 w 86"/>
                <a:gd name="T19" fmla="*/ 6 h 138"/>
                <a:gd name="T20" fmla="*/ 66 w 86"/>
                <a:gd name="T21" fmla="*/ 0 h 138"/>
                <a:gd name="T22" fmla="*/ 72 w 86"/>
                <a:gd name="T23" fmla="*/ 6 h 138"/>
                <a:gd name="T24" fmla="*/ 72 w 86"/>
                <a:gd name="T25" fmla="*/ 31 h 138"/>
                <a:gd name="T26" fmla="*/ 86 w 86"/>
                <a:gd name="T27" fmla="*/ 54 h 138"/>
                <a:gd name="T28" fmla="*/ 81 w 86"/>
                <a:gd name="T29" fmla="*/ 70 h 138"/>
                <a:gd name="T30" fmla="*/ 72 w 86"/>
                <a:gd name="T31" fmla="*/ 77 h 138"/>
                <a:gd name="T32" fmla="*/ 6 w 86"/>
                <a:gd name="T33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138">
                  <a:moveTo>
                    <a:pt x="6" y="138"/>
                  </a:moveTo>
                  <a:cubicBezTo>
                    <a:pt x="3" y="138"/>
                    <a:pt x="0" y="135"/>
                    <a:pt x="0" y="132"/>
                  </a:cubicBezTo>
                  <a:cubicBezTo>
                    <a:pt x="0" y="129"/>
                    <a:pt x="3" y="126"/>
                    <a:pt x="6" y="126"/>
                  </a:cubicBezTo>
                  <a:cubicBezTo>
                    <a:pt x="22" y="126"/>
                    <a:pt x="60" y="103"/>
                    <a:pt x="60" y="72"/>
                  </a:cubicBezTo>
                  <a:cubicBezTo>
                    <a:pt x="60" y="69"/>
                    <a:pt x="63" y="66"/>
                    <a:pt x="66" y="66"/>
                  </a:cubicBezTo>
                  <a:cubicBezTo>
                    <a:pt x="68" y="66"/>
                    <a:pt x="70" y="66"/>
                    <a:pt x="71" y="63"/>
                  </a:cubicBezTo>
                  <a:cubicBezTo>
                    <a:pt x="73" y="61"/>
                    <a:pt x="74" y="57"/>
                    <a:pt x="74" y="54"/>
                  </a:cubicBezTo>
                  <a:cubicBezTo>
                    <a:pt x="74" y="50"/>
                    <a:pt x="72" y="42"/>
                    <a:pt x="66" y="42"/>
                  </a:cubicBezTo>
                  <a:cubicBezTo>
                    <a:pt x="63" y="42"/>
                    <a:pt x="60" y="39"/>
                    <a:pt x="60" y="3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80" y="34"/>
                    <a:pt x="86" y="43"/>
                    <a:pt x="86" y="54"/>
                  </a:cubicBezTo>
                  <a:cubicBezTo>
                    <a:pt x="86" y="60"/>
                    <a:pt x="84" y="65"/>
                    <a:pt x="81" y="70"/>
                  </a:cubicBezTo>
                  <a:cubicBezTo>
                    <a:pt x="79" y="73"/>
                    <a:pt x="76" y="76"/>
                    <a:pt x="72" y="77"/>
                  </a:cubicBezTo>
                  <a:cubicBezTo>
                    <a:pt x="68" y="114"/>
                    <a:pt x="25" y="138"/>
                    <a:pt x="6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8" name="Freeform 215">
              <a:extLst>
                <a:ext uri="{FF2B5EF4-FFF2-40B4-BE49-F238E27FC236}">
                  <a16:creationId xmlns:a16="http://schemas.microsoft.com/office/drawing/2014/main" id="{EF26BA72-EEA7-433D-B2D5-790D0B436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7" y="662"/>
              <a:ext cx="441" cy="90"/>
            </a:xfrm>
            <a:custGeom>
              <a:avLst/>
              <a:gdLst>
                <a:gd name="T0" fmla="*/ 144 w 288"/>
                <a:gd name="T1" fmla="*/ 60 h 60"/>
                <a:gd name="T2" fmla="*/ 143 w 288"/>
                <a:gd name="T3" fmla="*/ 60 h 60"/>
                <a:gd name="T4" fmla="*/ 5 w 288"/>
                <a:gd name="T5" fmla="*/ 36 h 60"/>
                <a:gd name="T6" fmla="*/ 0 w 288"/>
                <a:gd name="T7" fmla="*/ 30 h 60"/>
                <a:gd name="T8" fmla="*/ 5 w 288"/>
                <a:gd name="T9" fmla="*/ 24 h 60"/>
                <a:gd name="T10" fmla="*/ 143 w 288"/>
                <a:gd name="T11" fmla="*/ 0 h 60"/>
                <a:gd name="T12" fmla="*/ 145 w 288"/>
                <a:gd name="T13" fmla="*/ 0 h 60"/>
                <a:gd name="T14" fmla="*/ 283 w 288"/>
                <a:gd name="T15" fmla="*/ 24 h 60"/>
                <a:gd name="T16" fmla="*/ 288 w 288"/>
                <a:gd name="T17" fmla="*/ 30 h 60"/>
                <a:gd name="T18" fmla="*/ 283 w 288"/>
                <a:gd name="T19" fmla="*/ 36 h 60"/>
                <a:gd name="T20" fmla="*/ 145 w 288"/>
                <a:gd name="T21" fmla="*/ 60 h 60"/>
                <a:gd name="T22" fmla="*/ 144 w 288"/>
                <a:gd name="T23" fmla="*/ 60 h 60"/>
                <a:gd name="T24" fmla="*/ 41 w 288"/>
                <a:gd name="T25" fmla="*/ 30 h 60"/>
                <a:gd name="T26" fmla="*/ 144 w 288"/>
                <a:gd name="T27" fmla="*/ 48 h 60"/>
                <a:gd name="T28" fmla="*/ 247 w 288"/>
                <a:gd name="T29" fmla="*/ 30 h 60"/>
                <a:gd name="T30" fmla="*/ 144 w 288"/>
                <a:gd name="T31" fmla="*/ 12 h 60"/>
                <a:gd name="T32" fmla="*/ 41 w 288"/>
                <a:gd name="T33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60">
                  <a:moveTo>
                    <a:pt x="144" y="60"/>
                  </a:moveTo>
                  <a:cubicBezTo>
                    <a:pt x="144" y="60"/>
                    <a:pt x="144" y="60"/>
                    <a:pt x="143" y="6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" y="35"/>
                    <a:pt x="0" y="33"/>
                    <a:pt x="0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4" y="0"/>
                    <a:pt x="145" y="0"/>
                    <a:pt x="145" y="0"/>
                  </a:cubicBezTo>
                  <a:cubicBezTo>
                    <a:pt x="283" y="24"/>
                    <a:pt x="283" y="24"/>
                    <a:pt x="283" y="24"/>
                  </a:cubicBezTo>
                  <a:cubicBezTo>
                    <a:pt x="286" y="24"/>
                    <a:pt x="288" y="27"/>
                    <a:pt x="288" y="30"/>
                  </a:cubicBezTo>
                  <a:cubicBezTo>
                    <a:pt x="288" y="33"/>
                    <a:pt x="286" y="35"/>
                    <a:pt x="283" y="36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5" y="60"/>
                    <a:pt x="144" y="60"/>
                  </a:cubicBezTo>
                  <a:close/>
                  <a:moveTo>
                    <a:pt x="41" y="30"/>
                  </a:moveTo>
                  <a:cubicBezTo>
                    <a:pt x="144" y="48"/>
                    <a:pt x="144" y="48"/>
                    <a:pt x="144" y="48"/>
                  </a:cubicBezTo>
                  <a:cubicBezTo>
                    <a:pt x="247" y="30"/>
                    <a:pt x="247" y="30"/>
                    <a:pt x="247" y="30"/>
                  </a:cubicBezTo>
                  <a:cubicBezTo>
                    <a:pt x="144" y="12"/>
                    <a:pt x="144" y="12"/>
                    <a:pt x="144" y="12"/>
                  </a:cubicBezTo>
                  <a:lnTo>
                    <a:pt x="4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9" name="Freeform 216">
              <a:extLst>
                <a:ext uri="{FF2B5EF4-FFF2-40B4-BE49-F238E27FC236}">
                  <a16:creationId xmlns:a16="http://schemas.microsoft.com/office/drawing/2014/main" id="{EC8E6074-932E-4B4E-8158-2BA47CFA6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" y="718"/>
              <a:ext cx="201" cy="88"/>
            </a:xfrm>
            <a:custGeom>
              <a:avLst/>
              <a:gdLst>
                <a:gd name="T0" fmla="*/ 66 w 132"/>
                <a:gd name="T1" fmla="*/ 59 h 59"/>
                <a:gd name="T2" fmla="*/ 2 w 132"/>
                <a:gd name="T3" fmla="*/ 39 h 59"/>
                <a:gd name="T4" fmla="*/ 0 w 132"/>
                <a:gd name="T5" fmla="*/ 35 h 59"/>
                <a:gd name="T6" fmla="*/ 0 w 132"/>
                <a:gd name="T7" fmla="*/ 6 h 59"/>
                <a:gd name="T8" fmla="*/ 6 w 132"/>
                <a:gd name="T9" fmla="*/ 0 h 59"/>
                <a:gd name="T10" fmla="*/ 12 w 132"/>
                <a:gd name="T11" fmla="*/ 6 h 59"/>
                <a:gd name="T12" fmla="*/ 12 w 132"/>
                <a:gd name="T13" fmla="*/ 32 h 59"/>
                <a:gd name="T14" fmla="*/ 66 w 132"/>
                <a:gd name="T15" fmla="*/ 47 h 59"/>
                <a:gd name="T16" fmla="*/ 120 w 132"/>
                <a:gd name="T17" fmla="*/ 32 h 59"/>
                <a:gd name="T18" fmla="*/ 120 w 132"/>
                <a:gd name="T19" fmla="*/ 6 h 59"/>
                <a:gd name="T20" fmla="*/ 126 w 132"/>
                <a:gd name="T21" fmla="*/ 0 h 59"/>
                <a:gd name="T22" fmla="*/ 132 w 132"/>
                <a:gd name="T23" fmla="*/ 6 h 59"/>
                <a:gd name="T24" fmla="*/ 132 w 132"/>
                <a:gd name="T25" fmla="*/ 35 h 59"/>
                <a:gd name="T26" fmla="*/ 130 w 132"/>
                <a:gd name="T27" fmla="*/ 39 h 59"/>
                <a:gd name="T28" fmla="*/ 66 w 132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59">
                  <a:moveTo>
                    <a:pt x="66" y="59"/>
                  </a:moveTo>
                  <a:cubicBezTo>
                    <a:pt x="22" y="59"/>
                    <a:pt x="3" y="40"/>
                    <a:pt x="2" y="39"/>
                  </a:cubicBezTo>
                  <a:cubicBezTo>
                    <a:pt x="1" y="38"/>
                    <a:pt x="0" y="36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7" y="36"/>
                    <a:pt x="35" y="47"/>
                    <a:pt x="66" y="47"/>
                  </a:cubicBezTo>
                  <a:cubicBezTo>
                    <a:pt x="98" y="47"/>
                    <a:pt x="115" y="36"/>
                    <a:pt x="120" y="32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3"/>
                    <a:pt x="123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6"/>
                    <a:pt x="132" y="38"/>
                    <a:pt x="130" y="39"/>
                  </a:cubicBezTo>
                  <a:cubicBezTo>
                    <a:pt x="130" y="40"/>
                    <a:pt x="110" y="59"/>
                    <a:pt x="66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0" name="Freeform 217">
              <a:extLst>
                <a:ext uri="{FF2B5EF4-FFF2-40B4-BE49-F238E27FC236}">
                  <a16:creationId xmlns:a16="http://schemas.microsoft.com/office/drawing/2014/main" id="{C8BED602-4B69-4DD9-ADEB-3984548A3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3" y="706"/>
              <a:ext cx="18" cy="82"/>
            </a:xfrm>
            <a:custGeom>
              <a:avLst/>
              <a:gdLst>
                <a:gd name="T0" fmla="*/ 6 w 12"/>
                <a:gd name="T1" fmla="*/ 55 h 55"/>
                <a:gd name="T2" fmla="*/ 0 w 12"/>
                <a:gd name="T3" fmla="*/ 49 h 55"/>
                <a:gd name="T4" fmla="*/ 0 w 12"/>
                <a:gd name="T5" fmla="*/ 6 h 55"/>
                <a:gd name="T6" fmla="*/ 6 w 12"/>
                <a:gd name="T7" fmla="*/ 0 h 55"/>
                <a:gd name="T8" fmla="*/ 12 w 12"/>
                <a:gd name="T9" fmla="*/ 6 h 55"/>
                <a:gd name="T10" fmla="*/ 12 w 12"/>
                <a:gd name="T11" fmla="*/ 49 h 55"/>
                <a:gd name="T12" fmla="*/ 6 w 12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5">
                  <a:moveTo>
                    <a:pt x="6" y="55"/>
                  </a:moveTo>
                  <a:cubicBezTo>
                    <a:pt x="3" y="55"/>
                    <a:pt x="0" y="52"/>
                    <a:pt x="0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52"/>
                    <a:pt x="10" y="55"/>
                    <a:pt x="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1" name="Freeform 218">
              <a:extLst>
                <a:ext uri="{FF2B5EF4-FFF2-40B4-BE49-F238E27FC236}">
                  <a16:creationId xmlns:a16="http://schemas.microsoft.com/office/drawing/2014/main" id="{88248631-F1A5-4C93-9F1F-48983EA6B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6" y="770"/>
              <a:ext cx="73" cy="143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2 w 48"/>
                <a:gd name="T5" fmla="*/ 94 h 96"/>
                <a:gd name="T6" fmla="*/ 0 w 48"/>
                <a:gd name="T7" fmla="*/ 89 h 96"/>
                <a:gd name="T8" fmla="*/ 18 w 48"/>
                <a:gd name="T9" fmla="*/ 5 h 96"/>
                <a:gd name="T10" fmla="*/ 24 w 48"/>
                <a:gd name="T11" fmla="*/ 0 h 96"/>
                <a:gd name="T12" fmla="*/ 30 w 48"/>
                <a:gd name="T13" fmla="*/ 5 h 96"/>
                <a:gd name="T14" fmla="*/ 48 w 48"/>
                <a:gd name="T15" fmla="*/ 89 h 96"/>
                <a:gd name="T16" fmla="*/ 47 w 48"/>
                <a:gd name="T17" fmla="*/ 94 h 96"/>
                <a:gd name="T18" fmla="*/ 42 w 48"/>
                <a:gd name="T19" fmla="*/ 96 h 96"/>
                <a:gd name="T20" fmla="*/ 14 w 48"/>
                <a:gd name="T21" fmla="*/ 84 h 96"/>
                <a:gd name="T22" fmla="*/ 35 w 48"/>
                <a:gd name="T23" fmla="*/ 84 h 96"/>
                <a:gd name="T24" fmla="*/ 24 w 48"/>
                <a:gd name="T25" fmla="*/ 34 h 96"/>
                <a:gd name="T26" fmla="*/ 14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4" y="96"/>
                    <a:pt x="3" y="95"/>
                    <a:pt x="2" y="94"/>
                  </a:cubicBezTo>
                  <a:cubicBezTo>
                    <a:pt x="0" y="92"/>
                    <a:pt x="0" y="90"/>
                    <a:pt x="0" y="89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2"/>
                    <a:pt x="21" y="0"/>
                    <a:pt x="24" y="0"/>
                  </a:cubicBezTo>
                  <a:cubicBezTo>
                    <a:pt x="27" y="0"/>
                    <a:pt x="30" y="2"/>
                    <a:pt x="30" y="5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8" y="90"/>
                    <a:pt x="48" y="92"/>
                    <a:pt x="47" y="94"/>
                  </a:cubicBezTo>
                  <a:cubicBezTo>
                    <a:pt x="46" y="95"/>
                    <a:pt x="44" y="96"/>
                    <a:pt x="42" y="96"/>
                  </a:cubicBezTo>
                  <a:close/>
                  <a:moveTo>
                    <a:pt x="14" y="84"/>
                  </a:moveTo>
                  <a:cubicBezTo>
                    <a:pt x="35" y="84"/>
                    <a:pt x="35" y="84"/>
                    <a:pt x="35" y="84"/>
                  </a:cubicBezTo>
                  <a:cubicBezTo>
                    <a:pt x="24" y="34"/>
                    <a:pt x="24" y="34"/>
                    <a:pt x="24" y="34"/>
                  </a:cubicBezTo>
                  <a:lnTo>
                    <a:pt x="14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2" name="Freeform 219">
              <a:extLst>
                <a:ext uri="{FF2B5EF4-FFF2-40B4-BE49-F238E27FC236}">
                  <a16:creationId xmlns:a16="http://schemas.microsoft.com/office/drawing/2014/main" id="{24E232E3-4249-4F87-9336-18CDDA0DC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" y="943"/>
              <a:ext cx="213" cy="114"/>
            </a:xfrm>
            <a:custGeom>
              <a:avLst/>
              <a:gdLst>
                <a:gd name="T0" fmla="*/ 69 w 139"/>
                <a:gd name="T1" fmla="*/ 76 h 76"/>
                <a:gd name="T2" fmla="*/ 65 w 139"/>
                <a:gd name="T3" fmla="*/ 74 h 76"/>
                <a:gd name="T4" fmla="*/ 2 w 139"/>
                <a:gd name="T5" fmla="*/ 11 h 76"/>
                <a:gd name="T6" fmla="*/ 2 w 139"/>
                <a:gd name="T7" fmla="*/ 3 h 76"/>
                <a:gd name="T8" fmla="*/ 10 w 139"/>
                <a:gd name="T9" fmla="*/ 3 h 76"/>
                <a:gd name="T10" fmla="*/ 69 w 139"/>
                <a:gd name="T11" fmla="*/ 61 h 76"/>
                <a:gd name="T12" fmla="*/ 128 w 139"/>
                <a:gd name="T13" fmla="*/ 2 h 76"/>
                <a:gd name="T14" fmla="*/ 137 w 139"/>
                <a:gd name="T15" fmla="*/ 2 h 76"/>
                <a:gd name="T16" fmla="*/ 137 w 139"/>
                <a:gd name="T17" fmla="*/ 11 h 76"/>
                <a:gd name="T18" fmla="*/ 73 w 139"/>
                <a:gd name="T19" fmla="*/ 74 h 76"/>
                <a:gd name="T20" fmla="*/ 69 w 139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9" h="76">
                  <a:moveTo>
                    <a:pt x="69" y="76"/>
                  </a:moveTo>
                  <a:cubicBezTo>
                    <a:pt x="68" y="76"/>
                    <a:pt x="66" y="75"/>
                    <a:pt x="65" y="7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128" y="2"/>
                    <a:pt x="128" y="2"/>
                    <a:pt x="128" y="2"/>
                  </a:cubicBezTo>
                  <a:cubicBezTo>
                    <a:pt x="130" y="0"/>
                    <a:pt x="134" y="0"/>
                    <a:pt x="137" y="2"/>
                  </a:cubicBezTo>
                  <a:cubicBezTo>
                    <a:pt x="139" y="5"/>
                    <a:pt x="139" y="9"/>
                    <a:pt x="137" y="11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2" y="75"/>
                    <a:pt x="71" y="76"/>
                    <a:pt x="69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BCC758-BBC3-4704-A7CA-8FB7D08D7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auto">
          <a:xfrm rot="5400000">
            <a:off x="6705842" y="4063445"/>
            <a:ext cx="512064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01407E72-66F8-4775-B505-C12C797B15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4816" y="3137102"/>
            <a:ext cx="2196000" cy="1250950"/>
          </a:xfrm>
          <a:prstGeom prst="rect">
            <a:avLst/>
          </a:prstGeom>
        </p:spPr>
        <p:txBody>
          <a:bodyPr lIns="54000" tIns="36000" rIns="36000" bIns="36000"/>
          <a:lstStyle>
            <a:lvl1pPr marL="0" indent="0" algn="just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D4236A14-AFD0-429E-8B94-FD0C006552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4816" y="5297679"/>
            <a:ext cx="2196000" cy="477479"/>
          </a:xfrm>
          <a:prstGeom prst="rect">
            <a:avLst/>
          </a:prstGeom>
        </p:spPr>
        <p:txBody>
          <a:bodyPr lIns="54000" tIns="36000" rIns="36000" bIns="36000" numCol="2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Text Placeholder 98">
            <a:extLst>
              <a:ext uri="{FF2B5EF4-FFF2-40B4-BE49-F238E27FC236}">
                <a16:creationId xmlns:a16="http://schemas.microsoft.com/office/drawing/2014/main" id="{BF2A2800-9122-4AE6-8294-B506317011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849" y="420379"/>
            <a:ext cx="7174800" cy="491306"/>
          </a:xfrm>
          <a:prstGeom prst="rect">
            <a:avLst/>
          </a:prstGeom>
        </p:spPr>
        <p:txBody>
          <a:bodyPr lIns="0" tIns="61200" rIns="0" bIns="0" anchor="b" anchorCtr="0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pl-PL" sz="3549" b="1" kern="1200" dirty="0">
                <a:solidFill>
                  <a:schemeClr val="tx1"/>
                </a:solidFill>
                <a:latin typeface="Graphik Black" panose="020B0A03030202060203" pitchFamily="34" charset="-18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err="1"/>
              <a:t>Imię</a:t>
            </a:r>
            <a:r>
              <a:rPr lang="en-US"/>
              <a:t> i </a:t>
            </a:r>
            <a:r>
              <a:rPr lang="en-US" err="1"/>
              <a:t>nazwisko</a:t>
            </a:r>
            <a:endParaRPr lang="en-US"/>
          </a:p>
        </p:txBody>
      </p:sp>
      <p:sp>
        <p:nvSpPr>
          <p:cNvPr id="37" name="Text Placeholder 91">
            <a:extLst>
              <a:ext uri="{FF2B5EF4-FFF2-40B4-BE49-F238E27FC236}">
                <a16:creationId xmlns:a16="http://schemas.microsoft.com/office/drawing/2014/main" id="{F12B844A-0114-4CB3-942B-701FBFECFC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849" y="1030842"/>
            <a:ext cx="4140000" cy="399600"/>
          </a:xfrm>
          <a:prstGeom prst="rect">
            <a:avLst/>
          </a:prstGeom>
        </p:spPr>
        <p:txBody>
          <a:bodyPr lIns="0" tIns="0" rIns="72000" bIns="36000" anchor="b" anchorCtr="0"/>
          <a:lstStyle>
            <a:lvl1pPr marL="0" indent="0">
              <a:buNone/>
              <a:defRPr kumimoji="0" lang="pl-PL" sz="2000" b="0" i="0" u="none" strike="noStrike" kern="1200" cap="none" spc="0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Sectra Fine Rg" panose="00000500000000000000" pitchFamily="50" charset="0"/>
                <a:ea typeface="Roboto Medium" panose="02000000000000000000" pitchFamily="2" charset="0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2286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77E53257-0C7A-4574-B279-5D0B0F4DD728}"/>
              </a:ext>
            </a:extLst>
          </p:cNvPr>
          <p:cNvSpPr txBox="1">
            <a:spLocks/>
          </p:cNvSpPr>
          <p:nvPr userDrawn="1"/>
        </p:nvSpPr>
        <p:spPr>
          <a:xfrm>
            <a:off x="2880849" y="1556713"/>
            <a:ext cx="4773737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6000" rIns="36000" bIns="36000" rtlCol="0" anchor="ctr" anchorCtr="0">
            <a:no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>
                <a:solidFill>
                  <a:srgbClr val="7500C0"/>
                </a:solidFill>
                <a:latin typeface="Graphik"/>
              </a:rPr>
              <a:t>Relevant project experience</a:t>
            </a:r>
          </a:p>
        </p:txBody>
      </p:sp>
      <p:sp>
        <p:nvSpPr>
          <p:cNvPr id="39" name="Picture Placeholder 8">
            <a:extLst>
              <a:ext uri="{FF2B5EF4-FFF2-40B4-BE49-F238E27FC236}">
                <a16:creationId xmlns:a16="http://schemas.microsoft.com/office/drawing/2014/main" id="{D7CAE0B1-7F50-46CB-A1EB-0C1DB621F2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2628000" cy="2592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pl-P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F2679A-F6D2-4AC0-8A88-3A0DE38E255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208" y="1907471"/>
            <a:ext cx="2664000" cy="1106487"/>
          </a:xfrm>
        </p:spPr>
        <p:txBody>
          <a:bodyPr lIns="54000" tIns="36000" rIns="36000" bIns="36000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11665D1-E656-413D-8788-0176DAD132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32107" y="1861782"/>
            <a:ext cx="6282000" cy="4488298"/>
          </a:xfrm>
        </p:spPr>
        <p:txBody>
          <a:bodyPr lIns="54000" tIns="36000" rIns="36000" bIns="36000" numCol="2" spcCol="25200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5857026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ccenture Greater Than symbol in white">
            <a:extLst>
              <a:ext uri="{FF2B5EF4-FFF2-40B4-BE49-F238E27FC236}">
                <a16:creationId xmlns:a16="http://schemas.microsoft.com/office/drawing/2014/main" id="{9DEA0E7F-4F0B-4028-9DCD-1D5D599C5A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A100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1783987" y="6522601"/>
            <a:ext cx="191087" cy="2023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45D549-9B0D-43BF-B4D5-F60832335E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85" r="30397" b="31908"/>
          <a:stretch/>
        </p:blipFill>
        <p:spPr bwMode="invGray">
          <a:xfrm>
            <a:off x="1802" y="2620706"/>
            <a:ext cx="2640814" cy="4237293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B1727A3-A4C0-44D9-9D35-05D3DD38FFD6}"/>
              </a:ext>
            </a:extLst>
          </p:cNvPr>
          <p:cNvSpPr txBox="1">
            <a:spLocks/>
          </p:cNvSpPr>
          <p:nvPr userDrawn="1"/>
        </p:nvSpPr>
        <p:spPr>
          <a:xfrm>
            <a:off x="407840" y="3172162"/>
            <a:ext cx="219679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Roboto Medium" panose="02000000000000000000" pitchFamily="2" charset="0"/>
                <a:cs typeface="+mn-cs"/>
              </a:rPr>
              <a:t>About m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E828E6-CC30-4950-97D5-B5ED59078F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167" y="3219330"/>
            <a:ext cx="182880" cy="200133"/>
            <a:chOff x="873570" y="2923982"/>
            <a:chExt cx="308751" cy="337878"/>
          </a:xfrm>
        </p:grpSpPr>
        <p:sp>
          <p:nvSpPr>
            <p:cNvPr id="12" name="Freeform 165">
              <a:extLst>
                <a:ext uri="{FF2B5EF4-FFF2-40B4-BE49-F238E27FC236}">
                  <a16:creationId xmlns:a16="http://schemas.microsoft.com/office/drawing/2014/main" id="{0DB34C81-406B-4E6D-A240-8BB1827CE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4058" y="2923982"/>
              <a:ext cx="207776" cy="201951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  <p:sp>
          <p:nvSpPr>
            <p:cNvPr id="13" name="Freeform 166">
              <a:extLst>
                <a:ext uri="{FF2B5EF4-FFF2-40B4-BE49-F238E27FC236}">
                  <a16:creationId xmlns:a16="http://schemas.microsoft.com/office/drawing/2014/main" id="{219B28DA-9A70-467F-B269-500F4B753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570" y="3092921"/>
              <a:ext cx="308751" cy="16893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2 w 108"/>
                <a:gd name="T13" fmla="*/ 48 h 60"/>
                <a:gd name="T14" fmla="*/ 95 w 108"/>
                <a:gd name="T15" fmla="*/ 48 h 60"/>
                <a:gd name="T16" fmla="*/ 54 w 108"/>
                <a:gd name="T17" fmla="*/ 12 h 60"/>
                <a:gd name="T18" fmla="*/ 12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7"/>
                    <a:pt x="105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5" y="48"/>
                    <a:pt x="95" y="48"/>
                    <a:pt x="95" y="48"/>
                  </a:cubicBezTo>
                  <a:cubicBezTo>
                    <a:pt x="93" y="27"/>
                    <a:pt x="75" y="12"/>
                    <a:pt x="54" y="12"/>
                  </a:cubicBezTo>
                  <a:cubicBezTo>
                    <a:pt x="33" y="12"/>
                    <a:pt x="15" y="27"/>
                    <a:pt x="12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</p:grpSp>
      <p:grpSp>
        <p:nvGrpSpPr>
          <p:cNvPr id="14" name="Group 169">
            <a:extLst>
              <a:ext uri="{FF2B5EF4-FFF2-40B4-BE49-F238E27FC236}">
                <a16:creationId xmlns:a16="http://schemas.microsoft.com/office/drawing/2014/main" id="{CC4E72F0-3299-4EFE-B018-3B85E693F96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5167" y="5349614"/>
            <a:ext cx="274320" cy="283018"/>
            <a:chOff x="2605" y="3204"/>
            <a:chExt cx="410" cy="423"/>
          </a:xfrm>
          <a:solidFill>
            <a:srgbClr val="FFFFFF"/>
          </a:solidFill>
        </p:grpSpPr>
        <p:sp>
          <p:nvSpPr>
            <p:cNvPr id="15" name="Freeform 170">
              <a:extLst>
                <a:ext uri="{FF2B5EF4-FFF2-40B4-BE49-F238E27FC236}">
                  <a16:creationId xmlns:a16="http://schemas.microsoft.com/office/drawing/2014/main" id="{E08DD1DF-F9B9-4EA6-9B1B-6CF735874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" y="3378"/>
              <a:ext cx="214" cy="249"/>
            </a:xfrm>
            <a:custGeom>
              <a:avLst/>
              <a:gdLst>
                <a:gd name="T0" fmla="*/ 66 w 144"/>
                <a:gd name="T1" fmla="*/ 168 h 168"/>
                <a:gd name="T2" fmla="*/ 63 w 144"/>
                <a:gd name="T3" fmla="*/ 167 h 168"/>
                <a:gd name="T4" fmla="*/ 3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3 w 144"/>
                <a:gd name="T11" fmla="*/ 40 h 168"/>
                <a:gd name="T12" fmla="*/ 63 w 144"/>
                <a:gd name="T13" fmla="*/ 1 h 168"/>
                <a:gd name="T14" fmla="*/ 69 w 144"/>
                <a:gd name="T15" fmla="*/ 1 h 168"/>
                <a:gd name="T16" fmla="*/ 141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1 w 144"/>
                <a:gd name="T23" fmla="*/ 128 h 168"/>
                <a:gd name="T24" fmla="*/ 69 w 144"/>
                <a:gd name="T25" fmla="*/ 167 h 168"/>
                <a:gd name="T26" fmla="*/ 66 w 144"/>
                <a:gd name="T27" fmla="*/ 168 h 168"/>
                <a:gd name="T28" fmla="*/ 12 w 144"/>
                <a:gd name="T29" fmla="*/ 120 h 168"/>
                <a:gd name="T30" fmla="*/ 67 w 144"/>
                <a:gd name="T31" fmla="*/ 155 h 168"/>
                <a:gd name="T32" fmla="*/ 132 w 144"/>
                <a:gd name="T33" fmla="*/ 120 h 168"/>
                <a:gd name="T34" fmla="*/ 132 w 144"/>
                <a:gd name="T35" fmla="*/ 49 h 168"/>
                <a:gd name="T36" fmla="*/ 67 w 144"/>
                <a:gd name="T37" fmla="*/ 13 h 168"/>
                <a:gd name="T38" fmla="*/ 12 w 144"/>
                <a:gd name="T39" fmla="*/ 48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66" y="168"/>
                  </a:moveTo>
                  <a:cubicBezTo>
                    <a:pt x="65" y="168"/>
                    <a:pt x="64" y="168"/>
                    <a:pt x="63" y="167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1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1" y="41"/>
                    <a:pt x="3" y="4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5" y="0"/>
                    <a:pt x="67" y="0"/>
                    <a:pt x="69" y="1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1" y="128"/>
                  </a:cubicBezTo>
                  <a:cubicBezTo>
                    <a:pt x="69" y="167"/>
                    <a:pt x="69" y="167"/>
                    <a:pt x="69" y="167"/>
                  </a:cubicBezTo>
                  <a:cubicBezTo>
                    <a:pt x="68" y="168"/>
                    <a:pt x="67" y="168"/>
                    <a:pt x="66" y="168"/>
                  </a:cubicBezTo>
                  <a:close/>
                  <a:moveTo>
                    <a:pt x="12" y="120"/>
                  </a:moveTo>
                  <a:cubicBezTo>
                    <a:pt x="67" y="155"/>
                    <a:pt x="67" y="155"/>
                    <a:pt x="67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12" y="48"/>
                    <a:pt x="12" y="48"/>
                    <a:pt x="12" y="48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6" name="Freeform 171">
              <a:extLst>
                <a:ext uri="{FF2B5EF4-FFF2-40B4-BE49-F238E27FC236}">
                  <a16:creationId xmlns:a16="http://schemas.microsoft.com/office/drawing/2014/main" id="{33EE6036-27E8-4C43-A1FD-338A7402E5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" y="3378"/>
              <a:ext cx="214" cy="249"/>
            </a:xfrm>
            <a:custGeom>
              <a:avLst/>
              <a:gdLst>
                <a:gd name="T0" fmla="*/ 78 w 144"/>
                <a:gd name="T1" fmla="*/ 168 h 168"/>
                <a:gd name="T2" fmla="*/ 76 w 144"/>
                <a:gd name="T3" fmla="*/ 167 h 168"/>
                <a:gd name="T4" fmla="*/ 4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4 w 144"/>
                <a:gd name="T11" fmla="*/ 40 h 168"/>
                <a:gd name="T12" fmla="*/ 76 w 144"/>
                <a:gd name="T13" fmla="*/ 1 h 168"/>
                <a:gd name="T14" fmla="*/ 82 w 144"/>
                <a:gd name="T15" fmla="*/ 1 h 168"/>
                <a:gd name="T16" fmla="*/ 142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2 w 144"/>
                <a:gd name="T23" fmla="*/ 128 h 168"/>
                <a:gd name="T24" fmla="*/ 82 w 144"/>
                <a:gd name="T25" fmla="*/ 167 h 168"/>
                <a:gd name="T26" fmla="*/ 78 w 144"/>
                <a:gd name="T27" fmla="*/ 168 h 168"/>
                <a:gd name="T28" fmla="*/ 12 w 144"/>
                <a:gd name="T29" fmla="*/ 120 h 168"/>
                <a:gd name="T30" fmla="*/ 78 w 144"/>
                <a:gd name="T31" fmla="*/ 155 h 168"/>
                <a:gd name="T32" fmla="*/ 132 w 144"/>
                <a:gd name="T33" fmla="*/ 120 h 168"/>
                <a:gd name="T34" fmla="*/ 132 w 144"/>
                <a:gd name="T35" fmla="*/ 48 h 168"/>
                <a:gd name="T36" fmla="*/ 78 w 144"/>
                <a:gd name="T37" fmla="*/ 13 h 168"/>
                <a:gd name="T38" fmla="*/ 12 w 144"/>
                <a:gd name="T39" fmla="*/ 49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80" y="0"/>
                    <a:pt x="82" y="1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2" y="128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1" y="168"/>
                    <a:pt x="80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7" name="Freeform 172">
              <a:extLst>
                <a:ext uri="{FF2B5EF4-FFF2-40B4-BE49-F238E27FC236}">
                  <a16:creationId xmlns:a16="http://schemas.microsoft.com/office/drawing/2014/main" id="{2AAA9EE7-A458-4D41-8F96-C74AE9DC12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4" y="3204"/>
              <a:ext cx="232" cy="250"/>
            </a:xfrm>
            <a:custGeom>
              <a:avLst/>
              <a:gdLst>
                <a:gd name="T0" fmla="*/ 78 w 156"/>
                <a:gd name="T1" fmla="*/ 168 h 168"/>
                <a:gd name="T2" fmla="*/ 76 w 156"/>
                <a:gd name="T3" fmla="*/ 167 h 168"/>
                <a:gd name="T4" fmla="*/ 4 w 156"/>
                <a:gd name="T5" fmla="*/ 128 h 168"/>
                <a:gd name="T6" fmla="*/ 0 w 156"/>
                <a:gd name="T7" fmla="*/ 123 h 168"/>
                <a:gd name="T8" fmla="*/ 0 w 156"/>
                <a:gd name="T9" fmla="*/ 45 h 168"/>
                <a:gd name="T10" fmla="*/ 4 w 156"/>
                <a:gd name="T11" fmla="*/ 40 h 168"/>
                <a:gd name="T12" fmla="*/ 76 w 156"/>
                <a:gd name="T13" fmla="*/ 1 h 168"/>
                <a:gd name="T14" fmla="*/ 81 w 156"/>
                <a:gd name="T15" fmla="*/ 1 h 168"/>
                <a:gd name="T16" fmla="*/ 153 w 156"/>
                <a:gd name="T17" fmla="*/ 40 h 168"/>
                <a:gd name="T18" fmla="*/ 156 w 156"/>
                <a:gd name="T19" fmla="*/ 45 h 168"/>
                <a:gd name="T20" fmla="*/ 156 w 156"/>
                <a:gd name="T21" fmla="*/ 123 h 168"/>
                <a:gd name="T22" fmla="*/ 153 w 156"/>
                <a:gd name="T23" fmla="*/ 128 h 168"/>
                <a:gd name="T24" fmla="*/ 81 w 156"/>
                <a:gd name="T25" fmla="*/ 167 h 168"/>
                <a:gd name="T26" fmla="*/ 78 w 156"/>
                <a:gd name="T27" fmla="*/ 168 h 168"/>
                <a:gd name="T28" fmla="*/ 12 w 156"/>
                <a:gd name="T29" fmla="*/ 120 h 168"/>
                <a:gd name="T30" fmla="*/ 78 w 156"/>
                <a:gd name="T31" fmla="*/ 155 h 168"/>
                <a:gd name="T32" fmla="*/ 144 w 156"/>
                <a:gd name="T33" fmla="*/ 120 h 168"/>
                <a:gd name="T34" fmla="*/ 144 w 156"/>
                <a:gd name="T35" fmla="*/ 49 h 168"/>
                <a:gd name="T36" fmla="*/ 78 w 156"/>
                <a:gd name="T37" fmla="*/ 13 h 168"/>
                <a:gd name="T38" fmla="*/ 12 w 156"/>
                <a:gd name="T39" fmla="*/ 49 h 168"/>
                <a:gd name="T40" fmla="*/ 12 w 156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6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80" y="0"/>
                    <a:pt x="81" y="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5" y="41"/>
                    <a:pt x="156" y="43"/>
                    <a:pt x="156" y="45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5"/>
                    <a:pt x="155" y="127"/>
                    <a:pt x="153" y="12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80" y="168"/>
                    <a:pt x="79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49"/>
                    <a:pt x="144" y="49"/>
                    <a:pt x="144" y="4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D1CA538A-F97A-485F-BA02-99CBBF3BE68C}"/>
              </a:ext>
            </a:extLst>
          </p:cNvPr>
          <p:cNvSpPr txBox="1">
            <a:spLocks/>
          </p:cNvSpPr>
          <p:nvPr userDrawn="1"/>
        </p:nvSpPr>
        <p:spPr>
          <a:xfrm>
            <a:off x="407840" y="5334978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>
                <a:solidFill>
                  <a:srgbClr val="FFFFFF"/>
                </a:solidFill>
                <a:latin typeface="Graphik"/>
              </a:rPr>
              <a:t>Industry experience</a:t>
            </a:r>
          </a:p>
        </p:txBody>
      </p:sp>
      <p:sp>
        <p:nvSpPr>
          <p:cNvPr id="19" name="Rechteck 5">
            <a:extLst>
              <a:ext uri="{FF2B5EF4-FFF2-40B4-BE49-F238E27FC236}">
                <a16:creationId xmlns:a16="http://schemas.microsoft.com/office/drawing/2014/main" id="{D1E7838B-6134-46EE-8E23-4302A047D69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2642616" y="1019706"/>
            <a:ext cx="9542241" cy="426864"/>
          </a:xfrm>
          <a:prstGeom prst="rect">
            <a:avLst/>
          </a:prstGeom>
          <a:pattFill prst="ltUpDiag">
            <a:fgClr>
              <a:srgbClr val="FFFFFF"/>
            </a:fgClr>
            <a:bgClr>
              <a:srgbClr val="E8ECEC"/>
            </a:bgClr>
          </a:patt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7759A8-84D9-4E83-A2DB-95B65584119E}"/>
              </a:ext>
            </a:extLst>
          </p:cNvPr>
          <p:cNvSpPr txBox="1"/>
          <p:nvPr userDrawn="1"/>
        </p:nvSpPr>
        <p:spPr>
          <a:xfrm>
            <a:off x="7970984" y="575354"/>
            <a:ext cx="4068000" cy="33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228600">
              <a:spcAft>
                <a:spcPts val="1200"/>
              </a:spcAft>
            </a:pPr>
            <a:r>
              <a:rPr lang="en-US" sz="2000">
                <a:solidFill>
                  <a:srgbClr val="000000"/>
                </a:solidFill>
                <a:latin typeface="Graphik"/>
              </a:rPr>
              <a:t>Accenture 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Data&amp;</a:t>
            </a:r>
            <a:r>
              <a:rPr lang="en-US" sz="2000">
                <a:solidFill>
                  <a:srgbClr val="000000"/>
                </a:solidFill>
                <a:latin typeface="Graphik"/>
              </a:rPr>
              <a:t>A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I</a:t>
            </a:r>
            <a:endParaRPr lang="en-US" sz="2000">
              <a:solidFill>
                <a:srgbClr val="000000"/>
              </a:solidFill>
              <a:latin typeface="Graphik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2D55710-BEDC-4028-93A6-EA9177018FF7}"/>
              </a:ext>
            </a:extLst>
          </p:cNvPr>
          <p:cNvSpPr txBox="1">
            <a:spLocks/>
          </p:cNvSpPr>
          <p:nvPr userDrawn="1"/>
        </p:nvSpPr>
        <p:spPr>
          <a:xfrm>
            <a:off x="9682733" y="1556713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noProof="0">
                <a:solidFill>
                  <a:srgbClr val="7500C0"/>
                </a:solidFill>
                <a:latin typeface="Graphik"/>
              </a:rPr>
              <a:t>Education</a:t>
            </a:r>
          </a:p>
        </p:txBody>
      </p:sp>
      <p:grpSp>
        <p:nvGrpSpPr>
          <p:cNvPr id="22" name="Group 209">
            <a:extLst>
              <a:ext uri="{FF2B5EF4-FFF2-40B4-BE49-F238E27FC236}">
                <a16:creationId xmlns:a16="http://schemas.microsoft.com/office/drawing/2014/main" id="{BED3242A-6E79-48C6-A851-271F22DD82B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18492" y="1614364"/>
            <a:ext cx="274320" cy="268099"/>
            <a:chOff x="5687" y="662"/>
            <a:chExt cx="441" cy="431"/>
          </a:xfrm>
          <a:solidFill>
            <a:srgbClr val="7500C0"/>
          </a:solidFill>
        </p:grpSpPr>
        <p:sp>
          <p:nvSpPr>
            <p:cNvPr id="23" name="Freeform 210">
              <a:extLst>
                <a:ext uri="{FF2B5EF4-FFF2-40B4-BE49-F238E27FC236}">
                  <a16:creationId xmlns:a16="http://schemas.microsoft.com/office/drawing/2014/main" id="{C036DE7B-1825-4016-A4A1-2F39D4212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7" y="930"/>
              <a:ext cx="441" cy="163"/>
            </a:xfrm>
            <a:custGeom>
              <a:avLst/>
              <a:gdLst>
                <a:gd name="T0" fmla="*/ 282 w 288"/>
                <a:gd name="T1" fmla="*/ 109 h 109"/>
                <a:gd name="T2" fmla="*/ 6 w 288"/>
                <a:gd name="T3" fmla="*/ 109 h 109"/>
                <a:gd name="T4" fmla="*/ 0 w 288"/>
                <a:gd name="T5" fmla="*/ 103 h 109"/>
                <a:gd name="T6" fmla="*/ 0 w 288"/>
                <a:gd name="T7" fmla="*/ 73 h 109"/>
                <a:gd name="T8" fmla="*/ 35 w 288"/>
                <a:gd name="T9" fmla="*/ 22 h 109"/>
                <a:gd name="T10" fmla="*/ 36 w 288"/>
                <a:gd name="T11" fmla="*/ 22 h 109"/>
                <a:gd name="T12" fmla="*/ 112 w 288"/>
                <a:gd name="T13" fmla="*/ 1 h 109"/>
                <a:gd name="T14" fmla="*/ 119 w 288"/>
                <a:gd name="T15" fmla="*/ 5 h 109"/>
                <a:gd name="T16" fmla="*/ 115 w 288"/>
                <a:gd name="T17" fmla="*/ 13 h 109"/>
                <a:gd name="T18" fmla="*/ 39 w 288"/>
                <a:gd name="T19" fmla="*/ 34 h 109"/>
                <a:gd name="T20" fmla="*/ 12 w 288"/>
                <a:gd name="T21" fmla="*/ 73 h 109"/>
                <a:gd name="T22" fmla="*/ 12 w 288"/>
                <a:gd name="T23" fmla="*/ 97 h 109"/>
                <a:gd name="T24" fmla="*/ 276 w 288"/>
                <a:gd name="T25" fmla="*/ 97 h 109"/>
                <a:gd name="T26" fmla="*/ 276 w 288"/>
                <a:gd name="T27" fmla="*/ 73 h 109"/>
                <a:gd name="T28" fmla="*/ 249 w 288"/>
                <a:gd name="T29" fmla="*/ 34 h 109"/>
                <a:gd name="T30" fmla="*/ 173 w 288"/>
                <a:gd name="T31" fmla="*/ 13 h 109"/>
                <a:gd name="T32" fmla="*/ 169 w 288"/>
                <a:gd name="T33" fmla="*/ 5 h 109"/>
                <a:gd name="T34" fmla="*/ 176 w 288"/>
                <a:gd name="T35" fmla="*/ 1 h 109"/>
                <a:gd name="T36" fmla="*/ 253 w 288"/>
                <a:gd name="T37" fmla="*/ 22 h 109"/>
                <a:gd name="T38" fmla="*/ 253 w 288"/>
                <a:gd name="T39" fmla="*/ 22 h 109"/>
                <a:gd name="T40" fmla="*/ 288 w 288"/>
                <a:gd name="T41" fmla="*/ 73 h 109"/>
                <a:gd name="T42" fmla="*/ 288 w 288"/>
                <a:gd name="T43" fmla="*/ 103 h 109"/>
                <a:gd name="T44" fmla="*/ 282 w 288"/>
                <a:gd name="T4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8" h="109">
                  <a:moveTo>
                    <a:pt x="282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14" y="30"/>
                    <a:pt x="35" y="22"/>
                  </a:cubicBezTo>
                  <a:cubicBezTo>
                    <a:pt x="35" y="22"/>
                    <a:pt x="36" y="22"/>
                    <a:pt x="36" y="22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5" y="0"/>
                    <a:pt x="118" y="2"/>
                    <a:pt x="119" y="5"/>
                  </a:cubicBezTo>
                  <a:cubicBezTo>
                    <a:pt x="120" y="8"/>
                    <a:pt x="118" y="12"/>
                    <a:pt x="115" y="1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23" y="40"/>
                    <a:pt x="12" y="56"/>
                    <a:pt x="12" y="7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276" y="97"/>
                    <a:pt x="276" y="97"/>
                    <a:pt x="276" y="97"/>
                  </a:cubicBezTo>
                  <a:cubicBezTo>
                    <a:pt x="276" y="73"/>
                    <a:pt x="276" y="73"/>
                    <a:pt x="276" y="73"/>
                  </a:cubicBezTo>
                  <a:cubicBezTo>
                    <a:pt x="276" y="56"/>
                    <a:pt x="265" y="40"/>
                    <a:pt x="249" y="3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0" y="12"/>
                    <a:pt x="168" y="8"/>
                    <a:pt x="169" y="5"/>
                  </a:cubicBezTo>
                  <a:cubicBezTo>
                    <a:pt x="170" y="2"/>
                    <a:pt x="173" y="0"/>
                    <a:pt x="176" y="1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74" y="30"/>
                    <a:pt x="288" y="50"/>
                    <a:pt x="288" y="73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8" y="106"/>
                    <a:pt x="286" y="109"/>
                    <a:pt x="282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4" name="Freeform 211">
              <a:extLst>
                <a:ext uri="{FF2B5EF4-FFF2-40B4-BE49-F238E27FC236}">
                  <a16:creationId xmlns:a16="http://schemas.microsoft.com/office/drawing/2014/main" id="{E6793C43-D202-4501-849F-0E17B8AA4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3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  <a:gd name="T38" fmla="*/ 12 w 36"/>
                <a:gd name="T3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5" name="Freeform 212">
              <a:extLst>
                <a:ext uri="{FF2B5EF4-FFF2-40B4-BE49-F238E27FC236}">
                  <a16:creationId xmlns:a16="http://schemas.microsoft.com/office/drawing/2014/main" id="{F3A778EF-8185-445A-B5B9-107C127B8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6" name="Freeform 213">
              <a:extLst>
                <a:ext uri="{FF2B5EF4-FFF2-40B4-BE49-F238E27FC236}">
                  <a16:creationId xmlns:a16="http://schemas.microsoft.com/office/drawing/2014/main" id="{743A6F23-D66B-418F-B749-B29DF5228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" y="761"/>
              <a:ext cx="130" cy="206"/>
            </a:xfrm>
            <a:custGeom>
              <a:avLst/>
              <a:gdLst>
                <a:gd name="T0" fmla="*/ 79 w 85"/>
                <a:gd name="T1" fmla="*/ 138 h 138"/>
                <a:gd name="T2" fmla="*/ 13 w 85"/>
                <a:gd name="T3" fmla="*/ 77 h 138"/>
                <a:gd name="T4" fmla="*/ 0 w 85"/>
                <a:gd name="T5" fmla="*/ 54 h 138"/>
                <a:gd name="T6" fmla="*/ 13 w 85"/>
                <a:gd name="T7" fmla="*/ 31 h 138"/>
                <a:gd name="T8" fmla="*/ 13 w 85"/>
                <a:gd name="T9" fmla="*/ 6 h 138"/>
                <a:gd name="T10" fmla="*/ 19 w 85"/>
                <a:gd name="T11" fmla="*/ 0 h 138"/>
                <a:gd name="T12" fmla="*/ 25 w 85"/>
                <a:gd name="T13" fmla="*/ 6 h 138"/>
                <a:gd name="T14" fmla="*/ 25 w 85"/>
                <a:gd name="T15" fmla="*/ 36 h 138"/>
                <a:gd name="T16" fmla="*/ 19 w 85"/>
                <a:gd name="T17" fmla="*/ 42 h 138"/>
                <a:gd name="T18" fmla="*/ 12 w 85"/>
                <a:gd name="T19" fmla="*/ 54 h 138"/>
                <a:gd name="T20" fmla="*/ 19 w 85"/>
                <a:gd name="T21" fmla="*/ 66 h 138"/>
                <a:gd name="T22" fmla="*/ 25 w 85"/>
                <a:gd name="T23" fmla="*/ 72 h 138"/>
                <a:gd name="T24" fmla="*/ 79 w 85"/>
                <a:gd name="T25" fmla="*/ 126 h 138"/>
                <a:gd name="T26" fmla="*/ 85 w 85"/>
                <a:gd name="T27" fmla="*/ 132 h 138"/>
                <a:gd name="T28" fmla="*/ 79 w 85"/>
                <a:gd name="T2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8">
                  <a:moveTo>
                    <a:pt x="79" y="138"/>
                  </a:moveTo>
                  <a:cubicBezTo>
                    <a:pt x="60" y="138"/>
                    <a:pt x="17" y="114"/>
                    <a:pt x="13" y="77"/>
                  </a:cubicBezTo>
                  <a:cubicBezTo>
                    <a:pt x="5" y="74"/>
                    <a:pt x="0" y="65"/>
                    <a:pt x="0" y="54"/>
                  </a:cubicBezTo>
                  <a:cubicBezTo>
                    <a:pt x="0" y="43"/>
                    <a:pt x="5" y="34"/>
                    <a:pt x="13" y="3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"/>
                    <a:pt x="16" y="0"/>
                    <a:pt x="19" y="0"/>
                  </a:cubicBezTo>
                  <a:cubicBezTo>
                    <a:pt x="23" y="0"/>
                    <a:pt x="25" y="3"/>
                    <a:pt x="25" y="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9"/>
                    <a:pt x="23" y="42"/>
                    <a:pt x="19" y="42"/>
                  </a:cubicBezTo>
                  <a:cubicBezTo>
                    <a:pt x="13" y="42"/>
                    <a:pt x="12" y="50"/>
                    <a:pt x="12" y="54"/>
                  </a:cubicBezTo>
                  <a:cubicBezTo>
                    <a:pt x="12" y="58"/>
                    <a:pt x="13" y="66"/>
                    <a:pt x="19" y="66"/>
                  </a:cubicBezTo>
                  <a:cubicBezTo>
                    <a:pt x="23" y="66"/>
                    <a:pt x="25" y="69"/>
                    <a:pt x="25" y="72"/>
                  </a:cubicBezTo>
                  <a:cubicBezTo>
                    <a:pt x="25" y="103"/>
                    <a:pt x="63" y="126"/>
                    <a:pt x="79" y="126"/>
                  </a:cubicBezTo>
                  <a:cubicBezTo>
                    <a:pt x="83" y="126"/>
                    <a:pt x="85" y="129"/>
                    <a:pt x="85" y="132"/>
                  </a:cubicBezTo>
                  <a:cubicBezTo>
                    <a:pt x="85" y="135"/>
                    <a:pt x="83" y="138"/>
                    <a:pt x="79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7" name="Freeform 214">
              <a:extLst>
                <a:ext uri="{FF2B5EF4-FFF2-40B4-BE49-F238E27FC236}">
                  <a16:creationId xmlns:a16="http://schemas.microsoft.com/office/drawing/2014/main" id="{9DEB99C5-9375-45D6-9458-2191255BE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8" y="761"/>
              <a:ext cx="132" cy="206"/>
            </a:xfrm>
            <a:custGeom>
              <a:avLst/>
              <a:gdLst>
                <a:gd name="T0" fmla="*/ 6 w 86"/>
                <a:gd name="T1" fmla="*/ 138 h 138"/>
                <a:gd name="T2" fmla="*/ 0 w 86"/>
                <a:gd name="T3" fmla="*/ 132 h 138"/>
                <a:gd name="T4" fmla="*/ 6 w 86"/>
                <a:gd name="T5" fmla="*/ 126 h 138"/>
                <a:gd name="T6" fmla="*/ 60 w 86"/>
                <a:gd name="T7" fmla="*/ 72 h 138"/>
                <a:gd name="T8" fmla="*/ 66 w 86"/>
                <a:gd name="T9" fmla="*/ 66 h 138"/>
                <a:gd name="T10" fmla="*/ 71 w 86"/>
                <a:gd name="T11" fmla="*/ 63 h 138"/>
                <a:gd name="T12" fmla="*/ 74 w 86"/>
                <a:gd name="T13" fmla="*/ 54 h 138"/>
                <a:gd name="T14" fmla="*/ 66 w 86"/>
                <a:gd name="T15" fmla="*/ 42 h 138"/>
                <a:gd name="T16" fmla="*/ 60 w 86"/>
                <a:gd name="T17" fmla="*/ 36 h 138"/>
                <a:gd name="T18" fmla="*/ 60 w 86"/>
                <a:gd name="T19" fmla="*/ 6 h 138"/>
                <a:gd name="T20" fmla="*/ 66 w 86"/>
                <a:gd name="T21" fmla="*/ 0 h 138"/>
                <a:gd name="T22" fmla="*/ 72 w 86"/>
                <a:gd name="T23" fmla="*/ 6 h 138"/>
                <a:gd name="T24" fmla="*/ 72 w 86"/>
                <a:gd name="T25" fmla="*/ 31 h 138"/>
                <a:gd name="T26" fmla="*/ 86 w 86"/>
                <a:gd name="T27" fmla="*/ 54 h 138"/>
                <a:gd name="T28" fmla="*/ 81 w 86"/>
                <a:gd name="T29" fmla="*/ 70 h 138"/>
                <a:gd name="T30" fmla="*/ 72 w 86"/>
                <a:gd name="T31" fmla="*/ 77 h 138"/>
                <a:gd name="T32" fmla="*/ 6 w 86"/>
                <a:gd name="T33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138">
                  <a:moveTo>
                    <a:pt x="6" y="138"/>
                  </a:moveTo>
                  <a:cubicBezTo>
                    <a:pt x="3" y="138"/>
                    <a:pt x="0" y="135"/>
                    <a:pt x="0" y="132"/>
                  </a:cubicBezTo>
                  <a:cubicBezTo>
                    <a:pt x="0" y="129"/>
                    <a:pt x="3" y="126"/>
                    <a:pt x="6" y="126"/>
                  </a:cubicBezTo>
                  <a:cubicBezTo>
                    <a:pt x="22" y="126"/>
                    <a:pt x="60" y="103"/>
                    <a:pt x="60" y="72"/>
                  </a:cubicBezTo>
                  <a:cubicBezTo>
                    <a:pt x="60" y="69"/>
                    <a:pt x="63" y="66"/>
                    <a:pt x="66" y="66"/>
                  </a:cubicBezTo>
                  <a:cubicBezTo>
                    <a:pt x="68" y="66"/>
                    <a:pt x="70" y="66"/>
                    <a:pt x="71" y="63"/>
                  </a:cubicBezTo>
                  <a:cubicBezTo>
                    <a:pt x="73" y="61"/>
                    <a:pt x="74" y="57"/>
                    <a:pt x="74" y="54"/>
                  </a:cubicBezTo>
                  <a:cubicBezTo>
                    <a:pt x="74" y="50"/>
                    <a:pt x="72" y="42"/>
                    <a:pt x="66" y="42"/>
                  </a:cubicBezTo>
                  <a:cubicBezTo>
                    <a:pt x="63" y="42"/>
                    <a:pt x="60" y="39"/>
                    <a:pt x="60" y="3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80" y="34"/>
                    <a:pt x="86" y="43"/>
                    <a:pt x="86" y="54"/>
                  </a:cubicBezTo>
                  <a:cubicBezTo>
                    <a:pt x="86" y="60"/>
                    <a:pt x="84" y="65"/>
                    <a:pt x="81" y="70"/>
                  </a:cubicBezTo>
                  <a:cubicBezTo>
                    <a:pt x="79" y="73"/>
                    <a:pt x="76" y="76"/>
                    <a:pt x="72" y="77"/>
                  </a:cubicBezTo>
                  <a:cubicBezTo>
                    <a:pt x="68" y="114"/>
                    <a:pt x="25" y="138"/>
                    <a:pt x="6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8" name="Freeform 215">
              <a:extLst>
                <a:ext uri="{FF2B5EF4-FFF2-40B4-BE49-F238E27FC236}">
                  <a16:creationId xmlns:a16="http://schemas.microsoft.com/office/drawing/2014/main" id="{EF26BA72-EEA7-433D-B2D5-790D0B436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7" y="662"/>
              <a:ext cx="441" cy="90"/>
            </a:xfrm>
            <a:custGeom>
              <a:avLst/>
              <a:gdLst>
                <a:gd name="T0" fmla="*/ 144 w 288"/>
                <a:gd name="T1" fmla="*/ 60 h 60"/>
                <a:gd name="T2" fmla="*/ 143 w 288"/>
                <a:gd name="T3" fmla="*/ 60 h 60"/>
                <a:gd name="T4" fmla="*/ 5 w 288"/>
                <a:gd name="T5" fmla="*/ 36 h 60"/>
                <a:gd name="T6" fmla="*/ 0 w 288"/>
                <a:gd name="T7" fmla="*/ 30 h 60"/>
                <a:gd name="T8" fmla="*/ 5 w 288"/>
                <a:gd name="T9" fmla="*/ 24 h 60"/>
                <a:gd name="T10" fmla="*/ 143 w 288"/>
                <a:gd name="T11" fmla="*/ 0 h 60"/>
                <a:gd name="T12" fmla="*/ 145 w 288"/>
                <a:gd name="T13" fmla="*/ 0 h 60"/>
                <a:gd name="T14" fmla="*/ 283 w 288"/>
                <a:gd name="T15" fmla="*/ 24 h 60"/>
                <a:gd name="T16" fmla="*/ 288 w 288"/>
                <a:gd name="T17" fmla="*/ 30 h 60"/>
                <a:gd name="T18" fmla="*/ 283 w 288"/>
                <a:gd name="T19" fmla="*/ 36 h 60"/>
                <a:gd name="T20" fmla="*/ 145 w 288"/>
                <a:gd name="T21" fmla="*/ 60 h 60"/>
                <a:gd name="T22" fmla="*/ 144 w 288"/>
                <a:gd name="T23" fmla="*/ 60 h 60"/>
                <a:gd name="T24" fmla="*/ 41 w 288"/>
                <a:gd name="T25" fmla="*/ 30 h 60"/>
                <a:gd name="T26" fmla="*/ 144 w 288"/>
                <a:gd name="T27" fmla="*/ 48 h 60"/>
                <a:gd name="T28" fmla="*/ 247 w 288"/>
                <a:gd name="T29" fmla="*/ 30 h 60"/>
                <a:gd name="T30" fmla="*/ 144 w 288"/>
                <a:gd name="T31" fmla="*/ 12 h 60"/>
                <a:gd name="T32" fmla="*/ 41 w 288"/>
                <a:gd name="T33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60">
                  <a:moveTo>
                    <a:pt x="144" y="60"/>
                  </a:moveTo>
                  <a:cubicBezTo>
                    <a:pt x="144" y="60"/>
                    <a:pt x="144" y="60"/>
                    <a:pt x="143" y="6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" y="35"/>
                    <a:pt x="0" y="33"/>
                    <a:pt x="0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4" y="0"/>
                    <a:pt x="145" y="0"/>
                    <a:pt x="145" y="0"/>
                  </a:cubicBezTo>
                  <a:cubicBezTo>
                    <a:pt x="283" y="24"/>
                    <a:pt x="283" y="24"/>
                    <a:pt x="283" y="24"/>
                  </a:cubicBezTo>
                  <a:cubicBezTo>
                    <a:pt x="286" y="24"/>
                    <a:pt x="288" y="27"/>
                    <a:pt x="288" y="30"/>
                  </a:cubicBezTo>
                  <a:cubicBezTo>
                    <a:pt x="288" y="33"/>
                    <a:pt x="286" y="35"/>
                    <a:pt x="283" y="36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5" y="60"/>
                    <a:pt x="144" y="60"/>
                  </a:cubicBezTo>
                  <a:close/>
                  <a:moveTo>
                    <a:pt x="41" y="30"/>
                  </a:moveTo>
                  <a:cubicBezTo>
                    <a:pt x="144" y="48"/>
                    <a:pt x="144" y="48"/>
                    <a:pt x="144" y="48"/>
                  </a:cubicBezTo>
                  <a:cubicBezTo>
                    <a:pt x="247" y="30"/>
                    <a:pt x="247" y="30"/>
                    <a:pt x="247" y="30"/>
                  </a:cubicBezTo>
                  <a:cubicBezTo>
                    <a:pt x="144" y="12"/>
                    <a:pt x="144" y="12"/>
                    <a:pt x="144" y="12"/>
                  </a:cubicBezTo>
                  <a:lnTo>
                    <a:pt x="4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9" name="Freeform 216">
              <a:extLst>
                <a:ext uri="{FF2B5EF4-FFF2-40B4-BE49-F238E27FC236}">
                  <a16:creationId xmlns:a16="http://schemas.microsoft.com/office/drawing/2014/main" id="{EC8E6074-932E-4B4E-8158-2BA47CFA6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" y="718"/>
              <a:ext cx="201" cy="88"/>
            </a:xfrm>
            <a:custGeom>
              <a:avLst/>
              <a:gdLst>
                <a:gd name="T0" fmla="*/ 66 w 132"/>
                <a:gd name="T1" fmla="*/ 59 h 59"/>
                <a:gd name="T2" fmla="*/ 2 w 132"/>
                <a:gd name="T3" fmla="*/ 39 h 59"/>
                <a:gd name="T4" fmla="*/ 0 w 132"/>
                <a:gd name="T5" fmla="*/ 35 h 59"/>
                <a:gd name="T6" fmla="*/ 0 w 132"/>
                <a:gd name="T7" fmla="*/ 6 h 59"/>
                <a:gd name="T8" fmla="*/ 6 w 132"/>
                <a:gd name="T9" fmla="*/ 0 h 59"/>
                <a:gd name="T10" fmla="*/ 12 w 132"/>
                <a:gd name="T11" fmla="*/ 6 h 59"/>
                <a:gd name="T12" fmla="*/ 12 w 132"/>
                <a:gd name="T13" fmla="*/ 32 h 59"/>
                <a:gd name="T14" fmla="*/ 66 w 132"/>
                <a:gd name="T15" fmla="*/ 47 h 59"/>
                <a:gd name="T16" fmla="*/ 120 w 132"/>
                <a:gd name="T17" fmla="*/ 32 h 59"/>
                <a:gd name="T18" fmla="*/ 120 w 132"/>
                <a:gd name="T19" fmla="*/ 6 h 59"/>
                <a:gd name="T20" fmla="*/ 126 w 132"/>
                <a:gd name="T21" fmla="*/ 0 h 59"/>
                <a:gd name="T22" fmla="*/ 132 w 132"/>
                <a:gd name="T23" fmla="*/ 6 h 59"/>
                <a:gd name="T24" fmla="*/ 132 w 132"/>
                <a:gd name="T25" fmla="*/ 35 h 59"/>
                <a:gd name="T26" fmla="*/ 130 w 132"/>
                <a:gd name="T27" fmla="*/ 39 h 59"/>
                <a:gd name="T28" fmla="*/ 66 w 132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59">
                  <a:moveTo>
                    <a:pt x="66" y="59"/>
                  </a:moveTo>
                  <a:cubicBezTo>
                    <a:pt x="22" y="59"/>
                    <a:pt x="3" y="40"/>
                    <a:pt x="2" y="39"/>
                  </a:cubicBezTo>
                  <a:cubicBezTo>
                    <a:pt x="1" y="38"/>
                    <a:pt x="0" y="36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7" y="36"/>
                    <a:pt x="35" y="47"/>
                    <a:pt x="66" y="47"/>
                  </a:cubicBezTo>
                  <a:cubicBezTo>
                    <a:pt x="98" y="47"/>
                    <a:pt x="115" y="36"/>
                    <a:pt x="120" y="32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3"/>
                    <a:pt x="123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6"/>
                    <a:pt x="132" y="38"/>
                    <a:pt x="130" y="39"/>
                  </a:cubicBezTo>
                  <a:cubicBezTo>
                    <a:pt x="130" y="40"/>
                    <a:pt x="110" y="59"/>
                    <a:pt x="66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0" name="Freeform 217">
              <a:extLst>
                <a:ext uri="{FF2B5EF4-FFF2-40B4-BE49-F238E27FC236}">
                  <a16:creationId xmlns:a16="http://schemas.microsoft.com/office/drawing/2014/main" id="{C8BED602-4B69-4DD9-ADEB-3984548A3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3" y="706"/>
              <a:ext cx="18" cy="82"/>
            </a:xfrm>
            <a:custGeom>
              <a:avLst/>
              <a:gdLst>
                <a:gd name="T0" fmla="*/ 6 w 12"/>
                <a:gd name="T1" fmla="*/ 55 h 55"/>
                <a:gd name="T2" fmla="*/ 0 w 12"/>
                <a:gd name="T3" fmla="*/ 49 h 55"/>
                <a:gd name="T4" fmla="*/ 0 w 12"/>
                <a:gd name="T5" fmla="*/ 6 h 55"/>
                <a:gd name="T6" fmla="*/ 6 w 12"/>
                <a:gd name="T7" fmla="*/ 0 h 55"/>
                <a:gd name="T8" fmla="*/ 12 w 12"/>
                <a:gd name="T9" fmla="*/ 6 h 55"/>
                <a:gd name="T10" fmla="*/ 12 w 12"/>
                <a:gd name="T11" fmla="*/ 49 h 55"/>
                <a:gd name="T12" fmla="*/ 6 w 12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5">
                  <a:moveTo>
                    <a:pt x="6" y="55"/>
                  </a:moveTo>
                  <a:cubicBezTo>
                    <a:pt x="3" y="55"/>
                    <a:pt x="0" y="52"/>
                    <a:pt x="0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52"/>
                    <a:pt x="10" y="55"/>
                    <a:pt x="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1" name="Freeform 218">
              <a:extLst>
                <a:ext uri="{FF2B5EF4-FFF2-40B4-BE49-F238E27FC236}">
                  <a16:creationId xmlns:a16="http://schemas.microsoft.com/office/drawing/2014/main" id="{88248631-F1A5-4C93-9F1F-48983EA6B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6" y="770"/>
              <a:ext cx="73" cy="143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2 w 48"/>
                <a:gd name="T5" fmla="*/ 94 h 96"/>
                <a:gd name="T6" fmla="*/ 0 w 48"/>
                <a:gd name="T7" fmla="*/ 89 h 96"/>
                <a:gd name="T8" fmla="*/ 18 w 48"/>
                <a:gd name="T9" fmla="*/ 5 h 96"/>
                <a:gd name="T10" fmla="*/ 24 w 48"/>
                <a:gd name="T11" fmla="*/ 0 h 96"/>
                <a:gd name="T12" fmla="*/ 30 w 48"/>
                <a:gd name="T13" fmla="*/ 5 h 96"/>
                <a:gd name="T14" fmla="*/ 48 w 48"/>
                <a:gd name="T15" fmla="*/ 89 h 96"/>
                <a:gd name="T16" fmla="*/ 47 w 48"/>
                <a:gd name="T17" fmla="*/ 94 h 96"/>
                <a:gd name="T18" fmla="*/ 42 w 48"/>
                <a:gd name="T19" fmla="*/ 96 h 96"/>
                <a:gd name="T20" fmla="*/ 14 w 48"/>
                <a:gd name="T21" fmla="*/ 84 h 96"/>
                <a:gd name="T22" fmla="*/ 35 w 48"/>
                <a:gd name="T23" fmla="*/ 84 h 96"/>
                <a:gd name="T24" fmla="*/ 24 w 48"/>
                <a:gd name="T25" fmla="*/ 34 h 96"/>
                <a:gd name="T26" fmla="*/ 14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4" y="96"/>
                    <a:pt x="3" y="95"/>
                    <a:pt x="2" y="94"/>
                  </a:cubicBezTo>
                  <a:cubicBezTo>
                    <a:pt x="0" y="92"/>
                    <a:pt x="0" y="90"/>
                    <a:pt x="0" y="89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2"/>
                    <a:pt x="21" y="0"/>
                    <a:pt x="24" y="0"/>
                  </a:cubicBezTo>
                  <a:cubicBezTo>
                    <a:pt x="27" y="0"/>
                    <a:pt x="30" y="2"/>
                    <a:pt x="30" y="5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8" y="90"/>
                    <a:pt x="48" y="92"/>
                    <a:pt x="47" y="94"/>
                  </a:cubicBezTo>
                  <a:cubicBezTo>
                    <a:pt x="46" y="95"/>
                    <a:pt x="44" y="96"/>
                    <a:pt x="42" y="96"/>
                  </a:cubicBezTo>
                  <a:close/>
                  <a:moveTo>
                    <a:pt x="14" y="84"/>
                  </a:moveTo>
                  <a:cubicBezTo>
                    <a:pt x="35" y="84"/>
                    <a:pt x="35" y="84"/>
                    <a:pt x="35" y="84"/>
                  </a:cubicBezTo>
                  <a:cubicBezTo>
                    <a:pt x="24" y="34"/>
                    <a:pt x="24" y="34"/>
                    <a:pt x="24" y="34"/>
                  </a:cubicBezTo>
                  <a:lnTo>
                    <a:pt x="14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2" name="Freeform 219">
              <a:extLst>
                <a:ext uri="{FF2B5EF4-FFF2-40B4-BE49-F238E27FC236}">
                  <a16:creationId xmlns:a16="http://schemas.microsoft.com/office/drawing/2014/main" id="{24E232E3-4249-4F87-9336-18CDDA0DC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" y="943"/>
              <a:ext cx="213" cy="114"/>
            </a:xfrm>
            <a:custGeom>
              <a:avLst/>
              <a:gdLst>
                <a:gd name="T0" fmla="*/ 69 w 139"/>
                <a:gd name="T1" fmla="*/ 76 h 76"/>
                <a:gd name="T2" fmla="*/ 65 w 139"/>
                <a:gd name="T3" fmla="*/ 74 h 76"/>
                <a:gd name="T4" fmla="*/ 2 w 139"/>
                <a:gd name="T5" fmla="*/ 11 h 76"/>
                <a:gd name="T6" fmla="*/ 2 w 139"/>
                <a:gd name="T7" fmla="*/ 3 h 76"/>
                <a:gd name="T8" fmla="*/ 10 w 139"/>
                <a:gd name="T9" fmla="*/ 3 h 76"/>
                <a:gd name="T10" fmla="*/ 69 w 139"/>
                <a:gd name="T11" fmla="*/ 61 h 76"/>
                <a:gd name="T12" fmla="*/ 128 w 139"/>
                <a:gd name="T13" fmla="*/ 2 h 76"/>
                <a:gd name="T14" fmla="*/ 137 w 139"/>
                <a:gd name="T15" fmla="*/ 2 h 76"/>
                <a:gd name="T16" fmla="*/ 137 w 139"/>
                <a:gd name="T17" fmla="*/ 11 h 76"/>
                <a:gd name="T18" fmla="*/ 73 w 139"/>
                <a:gd name="T19" fmla="*/ 74 h 76"/>
                <a:gd name="T20" fmla="*/ 69 w 139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9" h="76">
                  <a:moveTo>
                    <a:pt x="69" y="76"/>
                  </a:moveTo>
                  <a:cubicBezTo>
                    <a:pt x="68" y="76"/>
                    <a:pt x="66" y="75"/>
                    <a:pt x="65" y="7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128" y="2"/>
                    <a:pt x="128" y="2"/>
                    <a:pt x="128" y="2"/>
                  </a:cubicBezTo>
                  <a:cubicBezTo>
                    <a:pt x="130" y="0"/>
                    <a:pt x="134" y="0"/>
                    <a:pt x="137" y="2"/>
                  </a:cubicBezTo>
                  <a:cubicBezTo>
                    <a:pt x="139" y="5"/>
                    <a:pt x="139" y="9"/>
                    <a:pt x="137" y="11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2" y="75"/>
                    <a:pt x="71" y="76"/>
                    <a:pt x="69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BCC758-BBC3-4704-A7CA-8FB7D08D7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auto">
          <a:xfrm rot="5400000">
            <a:off x="6705842" y="4063445"/>
            <a:ext cx="512064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01407E72-66F8-4775-B505-C12C797B15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4816" y="3555110"/>
            <a:ext cx="2196000" cy="1250950"/>
          </a:xfrm>
          <a:prstGeom prst="rect">
            <a:avLst/>
          </a:prstGeom>
        </p:spPr>
        <p:txBody>
          <a:bodyPr lIns="54000" tIns="36000" rIns="36000" bIns="36000"/>
          <a:lstStyle>
            <a:lvl1pPr marL="0" indent="0" algn="just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D4236A14-AFD0-429E-8B94-FD0C006552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4816" y="5715687"/>
            <a:ext cx="2196000" cy="477479"/>
          </a:xfrm>
          <a:prstGeom prst="rect">
            <a:avLst/>
          </a:prstGeom>
        </p:spPr>
        <p:txBody>
          <a:bodyPr lIns="54000" tIns="36000" rIns="36000" bIns="36000" numCol="2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Text Placeholder 98">
            <a:extLst>
              <a:ext uri="{FF2B5EF4-FFF2-40B4-BE49-F238E27FC236}">
                <a16:creationId xmlns:a16="http://schemas.microsoft.com/office/drawing/2014/main" id="{BF2A2800-9122-4AE6-8294-B506317011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849" y="420379"/>
            <a:ext cx="7174800" cy="491306"/>
          </a:xfrm>
          <a:prstGeom prst="rect">
            <a:avLst/>
          </a:prstGeom>
        </p:spPr>
        <p:txBody>
          <a:bodyPr lIns="0" tIns="61200" rIns="0" bIns="0" anchor="b" anchorCtr="0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pl-PL" sz="3549" b="1" kern="1200" dirty="0">
                <a:solidFill>
                  <a:schemeClr val="tx1"/>
                </a:solidFill>
                <a:latin typeface="Graphik Black" panose="020B0A03030202060203" pitchFamily="34" charset="-18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mię i nazwisko</a:t>
            </a:r>
          </a:p>
        </p:txBody>
      </p:sp>
      <p:sp>
        <p:nvSpPr>
          <p:cNvPr id="37" name="Text Placeholder 91">
            <a:extLst>
              <a:ext uri="{FF2B5EF4-FFF2-40B4-BE49-F238E27FC236}">
                <a16:creationId xmlns:a16="http://schemas.microsoft.com/office/drawing/2014/main" id="{F12B844A-0114-4CB3-942B-701FBFECFC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849" y="1030842"/>
            <a:ext cx="4140000" cy="399600"/>
          </a:xfrm>
          <a:prstGeom prst="rect">
            <a:avLst/>
          </a:prstGeom>
        </p:spPr>
        <p:txBody>
          <a:bodyPr lIns="0" tIns="0" rIns="72000" bIns="36000" anchor="b" anchorCtr="0"/>
          <a:lstStyle>
            <a:lvl1pPr marL="0" indent="0">
              <a:buNone/>
              <a:defRPr kumimoji="0" lang="pl-PL" sz="2000" b="0" i="0" u="none" strike="noStrike" kern="1200" cap="none" spc="0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Sectra Fine Rg" panose="00000500000000000000" pitchFamily="50" charset="0"/>
                <a:ea typeface="Roboto Medium" panose="02000000000000000000" pitchFamily="2" charset="0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2286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77E53257-0C7A-4574-B279-5D0B0F4DD728}"/>
              </a:ext>
            </a:extLst>
          </p:cNvPr>
          <p:cNvSpPr txBox="1">
            <a:spLocks/>
          </p:cNvSpPr>
          <p:nvPr userDrawn="1"/>
        </p:nvSpPr>
        <p:spPr>
          <a:xfrm>
            <a:off x="2880849" y="1556713"/>
            <a:ext cx="4773737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6000" rIns="36000" bIns="36000" rtlCol="0" anchor="ctr" anchorCtr="0">
            <a:no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noProof="0">
                <a:solidFill>
                  <a:srgbClr val="7500C0"/>
                </a:solidFill>
                <a:latin typeface="Graphik"/>
              </a:rPr>
              <a:t>Relevant project experience</a:t>
            </a:r>
          </a:p>
        </p:txBody>
      </p:sp>
      <p:sp>
        <p:nvSpPr>
          <p:cNvPr id="39" name="Picture Placeholder 8">
            <a:extLst>
              <a:ext uri="{FF2B5EF4-FFF2-40B4-BE49-F238E27FC236}">
                <a16:creationId xmlns:a16="http://schemas.microsoft.com/office/drawing/2014/main" id="{D7CAE0B1-7F50-46CB-A1EB-0C1DB621F2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2628000" cy="2592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pl-PL"/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A8ABD034-B5F4-4B45-9AFF-E5B729F00B87}"/>
              </a:ext>
            </a:extLst>
          </p:cNvPr>
          <p:cNvSpPr txBox="1">
            <a:spLocks/>
          </p:cNvSpPr>
          <p:nvPr userDrawn="1"/>
        </p:nvSpPr>
        <p:spPr>
          <a:xfrm>
            <a:off x="9682733" y="3361954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noProof="0">
                <a:solidFill>
                  <a:schemeClr val="accent2"/>
                </a:solidFill>
              </a:rPr>
              <a:t>Key skill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51B1312-96EF-48D9-B9D1-F8F197504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266162" y="3298265"/>
            <a:ext cx="265176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2" name="Group 83">
            <a:extLst>
              <a:ext uri="{FF2B5EF4-FFF2-40B4-BE49-F238E27FC236}">
                <a16:creationId xmlns:a16="http://schemas.microsoft.com/office/drawing/2014/main" id="{FCA95F8C-67D0-41A3-B94A-53AE76996A0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18492" y="3372048"/>
            <a:ext cx="321172" cy="328641"/>
            <a:chOff x="1580" y="1910"/>
            <a:chExt cx="387" cy="396"/>
          </a:xfrm>
          <a:solidFill>
            <a:schemeClr val="accent2"/>
          </a:solidFill>
        </p:grpSpPr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D9B03C2E-83D0-43C2-ADBD-B06AB50006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82"/>
              <a:ext cx="238" cy="252"/>
            </a:xfrm>
            <a:custGeom>
              <a:avLst/>
              <a:gdLst>
                <a:gd name="T0" fmla="*/ 0 w 156"/>
                <a:gd name="T1" fmla="*/ 78 h 169"/>
                <a:gd name="T2" fmla="*/ 54 w 156"/>
                <a:gd name="T3" fmla="*/ 163 h 169"/>
                <a:gd name="T4" fmla="*/ 96 w 156"/>
                <a:gd name="T5" fmla="*/ 169 h 169"/>
                <a:gd name="T6" fmla="*/ 102 w 156"/>
                <a:gd name="T7" fmla="*/ 153 h 169"/>
                <a:gd name="T8" fmla="*/ 78 w 156"/>
                <a:gd name="T9" fmla="*/ 0 h 169"/>
                <a:gd name="T10" fmla="*/ 90 w 156"/>
                <a:gd name="T11" fmla="*/ 148 h 169"/>
                <a:gd name="T12" fmla="*/ 66 w 156"/>
                <a:gd name="T13" fmla="*/ 157 h 169"/>
                <a:gd name="T14" fmla="*/ 61 w 156"/>
                <a:gd name="T15" fmla="*/ 142 h 169"/>
                <a:gd name="T16" fmla="*/ 63 w 156"/>
                <a:gd name="T17" fmla="*/ 133 h 169"/>
                <a:gd name="T18" fmla="*/ 67 w 156"/>
                <a:gd name="T19" fmla="*/ 110 h 169"/>
                <a:gd name="T20" fmla="*/ 58 w 156"/>
                <a:gd name="T21" fmla="*/ 89 h 169"/>
                <a:gd name="T22" fmla="*/ 53 w 156"/>
                <a:gd name="T23" fmla="*/ 78 h 169"/>
                <a:gd name="T24" fmla="*/ 56 w 156"/>
                <a:gd name="T25" fmla="*/ 67 h 169"/>
                <a:gd name="T26" fmla="*/ 55 w 156"/>
                <a:gd name="T27" fmla="*/ 57 h 169"/>
                <a:gd name="T28" fmla="*/ 82 w 156"/>
                <a:gd name="T29" fmla="*/ 44 h 169"/>
                <a:gd name="T30" fmla="*/ 99 w 156"/>
                <a:gd name="T31" fmla="*/ 67 h 169"/>
                <a:gd name="T32" fmla="*/ 102 w 156"/>
                <a:gd name="T33" fmla="*/ 78 h 169"/>
                <a:gd name="T34" fmla="*/ 102 w 156"/>
                <a:gd name="T35" fmla="*/ 83 h 169"/>
                <a:gd name="T36" fmla="*/ 92 w 156"/>
                <a:gd name="T37" fmla="*/ 105 h 169"/>
                <a:gd name="T38" fmla="*/ 89 w 156"/>
                <a:gd name="T39" fmla="*/ 127 h 169"/>
                <a:gd name="T40" fmla="*/ 105 w 156"/>
                <a:gd name="T41" fmla="*/ 138 h 169"/>
                <a:gd name="T42" fmla="*/ 118 w 156"/>
                <a:gd name="T43" fmla="*/ 131 h 169"/>
                <a:gd name="T44" fmla="*/ 100 w 156"/>
                <a:gd name="T45" fmla="*/ 114 h 169"/>
                <a:gd name="T46" fmla="*/ 114 w 156"/>
                <a:gd name="T47" fmla="*/ 80 h 169"/>
                <a:gd name="T48" fmla="*/ 111 w 156"/>
                <a:gd name="T49" fmla="*/ 69 h 169"/>
                <a:gd name="T50" fmla="*/ 82 w 156"/>
                <a:gd name="T51" fmla="*/ 33 h 169"/>
                <a:gd name="T52" fmla="*/ 44 w 156"/>
                <a:gd name="T53" fmla="*/ 49 h 169"/>
                <a:gd name="T54" fmla="*/ 43 w 156"/>
                <a:gd name="T55" fmla="*/ 71 h 169"/>
                <a:gd name="T56" fmla="*/ 46 w 156"/>
                <a:gd name="T57" fmla="*/ 93 h 169"/>
                <a:gd name="T58" fmla="*/ 55 w 156"/>
                <a:gd name="T59" fmla="*/ 123 h 169"/>
                <a:gd name="T60" fmla="*/ 12 w 156"/>
                <a:gd name="T61" fmla="*/ 78 h 169"/>
                <a:gd name="T62" fmla="*/ 144 w 156"/>
                <a:gd name="T63" fmla="*/ 7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9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12"/>
                    <a:pt x="22" y="142"/>
                    <a:pt x="54" y="153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6"/>
                    <a:pt x="56" y="169"/>
                    <a:pt x="60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9" y="169"/>
                    <a:pt x="102" y="166"/>
                    <a:pt x="102" y="16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34" y="142"/>
                    <a:pt x="156" y="112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lose/>
                  <a:moveTo>
                    <a:pt x="94" y="142"/>
                  </a:moveTo>
                  <a:cubicBezTo>
                    <a:pt x="92" y="143"/>
                    <a:pt x="90" y="145"/>
                    <a:pt x="90" y="148"/>
                  </a:cubicBezTo>
                  <a:cubicBezTo>
                    <a:pt x="90" y="157"/>
                    <a:pt x="90" y="157"/>
                    <a:pt x="90" y="157"/>
                  </a:cubicBezTo>
                  <a:cubicBezTo>
                    <a:pt x="66" y="157"/>
                    <a:pt x="66" y="157"/>
                    <a:pt x="66" y="157"/>
                  </a:cubicBezTo>
                  <a:cubicBezTo>
                    <a:pt x="66" y="148"/>
                    <a:pt x="66" y="148"/>
                    <a:pt x="66" y="148"/>
                  </a:cubicBezTo>
                  <a:cubicBezTo>
                    <a:pt x="66" y="145"/>
                    <a:pt x="64" y="143"/>
                    <a:pt x="61" y="142"/>
                  </a:cubicBezTo>
                  <a:cubicBezTo>
                    <a:pt x="57" y="141"/>
                    <a:pt x="54" y="140"/>
                    <a:pt x="50" y="138"/>
                  </a:cubicBezTo>
                  <a:cubicBezTo>
                    <a:pt x="54" y="136"/>
                    <a:pt x="59" y="135"/>
                    <a:pt x="63" y="133"/>
                  </a:cubicBezTo>
                  <a:cubicBezTo>
                    <a:pt x="65" y="132"/>
                    <a:pt x="67" y="130"/>
                    <a:pt x="67" y="12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08"/>
                    <a:pt x="65" y="106"/>
                    <a:pt x="63" y="105"/>
                  </a:cubicBezTo>
                  <a:cubicBezTo>
                    <a:pt x="63" y="105"/>
                    <a:pt x="58" y="102"/>
                    <a:pt x="58" y="89"/>
                  </a:cubicBezTo>
                  <a:cubicBezTo>
                    <a:pt x="58" y="86"/>
                    <a:pt x="56" y="84"/>
                    <a:pt x="54" y="84"/>
                  </a:cubicBezTo>
                  <a:cubicBezTo>
                    <a:pt x="53" y="83"/>
                    <a:pt x="52" y="80"/>
                    <a:pt x="53" y="78"/>
                  </a:cubicBezTo>
                  <a:cubicBezTo>
                    <a:pt x="56" y="78"/>
                    <a:pt x="58" y="75"/>
                    <a:pt x="58" y="72"/>
                  </a:cubicBezTo>
                  <a:cubicBezTo>
                    <a:pt x="58" y="71"/>
                    <a:pt x="58" y="69"/>
                    <a:pt x="56" y="67"/>
                  </a:cubicBezTo>
                  <a:cubicBezTo>
                    <a:pt x="54" y="60"/>
                    <a:pt x="53" y="58"/>
                    <a:pt x="53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8" y="58"/>
                    <a:pt x="61" y="56"/>
                    <a:pt x="62" y="53"/>
                  </a:cubicBezTo>
                  <a:cubicBezTo>
                    <a:pt x="63" y="48"/>
                    <a:pt x="72" y="44"/>
                    <a:pt x="82" y="44"/>
                  </a:cubicBezTo>
                  <a:cubicBezTo>
                    <a:pt x="92" y="44"/>
                    <a:pt x="100" y="48"/>
                    <a:pt x="102" y="53"/>
                  </a:cubicBezTo>
                  <a:cubicBezTo>
                    <a:pt x="103" y="58"/>
                    <a:pt x="100" y="64"/>
                    <a:pt x="99" y="67"/>
                  </a:cubicBezTo>
                  <a:cubicBezTo>
                    <a:pt x="98" y="69"/>
                    <a:pt x="97" y="71"/>
                    <a:pt x="97" y="72"/>
                  </a:cubicBezTo>
                  <a:cubicBezTo>
                    <a:pt x="97" y="75"/>
                    <a:pt x="100" y="78"/>
                    <a:pt x="102" y="78"/>
                  </a:cubicBezTo>
                  <a:cubicBezTo>
                    <a:pt x="103" y="78"/>
                    <a:pt x="103" y="79"/>
                    <a:pt x="103" y="79"/>
                  </a:cubicBezTo>
                  <a:cubicBezTo>
                    <a:pt x="103" y="81"/>
                    <a:pt x="102" y="82"/>
                    <a:pt x="102" y="83"/>
                  </a:cubicBezTo>
                  <a:cubicBezTo>
                    <a:pt x="99" y="84"/>
                    <a:pt x="97" y="86"/>
                    <a:pt x="97" y="89"/>
                  </a:cubicBezTo>
                  <a:cubicBezTo>
                    <a:pt x="97" y="101"/>
                    <a:pt x="93" y="104"/>
                    <a:pt x="92" y="105"/>
                  </a:cubicBezTo>
                  <a:cubicBezTo>
                    <a:pt x="90" y="106"/>
                    <a:pt x="89" y="108"/>
                    <a:pt x="89" y="110"/>
                  </a:cubicBezTo>
                  <a:cubicBezTo>
                    <a:pt x="89" y="127"/>
                    <a:pt x="89" y="127"/>
                    <a:pt x="89" y="127"/>
                  </a:cubicBezTo>
                  <a:cubicBezTo>
                    <a:pt x="89" y="130"/>
                    <a:pt x="90" y="132"/>
                    <a:pt x="92" y="133"/>
                  </a:cubicBezTo>
                  <a:cubicBezTo>
                    <a:pt x="97" y="135"/>
                    <a:pt x="101" y="136"/>
                    <a:pt x="105" y="138"/>
                  </a:cubicBezTo>
                  <a:cubicBezTo>
                    <a:pt x="102" y="140"/>
                    <a:pt x="98" y="141"/>
                    <a:pt x="94" y="142"/>
                  </a:cubicBezTo>
                  <a:close/>
                  <a:moveTo>
                    <a:pt x="118" y="131"/>
                  </a:moveTo>
                  <a:cubicBezTo>
                    <a:pt x="112" y="128"/>
                    <a:pt x="106" y="126"/>
                    <a:pt x="100" y="12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4" y="111"/>
                    <a:pt x="108" y="105"/>
                    <a:pt x="109" y="93"/>
                  </a:cubicBezTo>
                  <a:cubicBezTo>
                    <a:pt x="112" y="90"/>
                    <a:pt x="114" y="85"/>
                    <a:pt x="114" y="80"/>
                  </a:cubicBezTo>
                  <a:cubicBezTo>
                    <a:pt x="114" y="76"/>
                    <a:pt x="114" y="74"/>
                    <a:pt x="112" y="71"/>
                  </a:cubicBezTo>
                  <a:cubicBezTo>
                    <a:pt x="112" y="71"/>
                    <a:pt x="111" y="70"/>
                    <a:pt x="111" y="69"/>
                  </a:cubicBezTo>
                  <a:cubicBezTo>
                    <a:pt x="113" y="65"/>
                    <a:pt x="115" y="57"/>
                    <a:pt x="113" y="50"/>
                  </a:cubicBezTo>
                  <a:cubicBezTo>
                    <a:pt x="110" y="37"/>
                    <a:pt x="94" y="33"/>
                    <a:pt x="82" y="33"/>
                  </a:cubicBezTo>
                  <a:cubicBezTo>
                    <a:pt x="71" y="33"/>
                    <a:pt x="58" y="36"/>
                    <a:pt x="53" y="45"/>
                  </a:cubicBezTo>
                  <a:cubicBezTo>
                    <a:pt x="49" y="45"/>
                    <a:pt x="46" y="46"/>
                    <a:pt x="44" y="49"/>
                  </a:cubicBezTo>
                  <a:cubicBezTo>
                    <a:pt x="39" y="55"/>
                    <a:pt x="42" y="64"/>
                    <a:pt x="45" y="69"/>
                  </a:cubicBezTo>
                  <a:cubicBezTo>
                    <a:pt x="44" y="70"/>
                    <a:pt x="44" y="71"/>
                    <a:pt x="43" y="71"/>
                  </a:cubicBezTo>
                  <a:cubicBezTo>
                    <a:pt x="42" y="74"/>
                    <a:pt x="41" y="77"/>
                    <a:pt x="41" y="80"/>
                  </a:cubicBezTo>
                  <a:cubicBezTo>
                    <a:pt x="41" y="85"/>
                    <a:pt x="43" y="90"/>
                    <a:pt x="46" y="93"/>
                  </a:cubicBezTo>
                  <a:cubicBezTo>
                    <a:pt x="47" y="105"/>
                    <a:pt x="51" y="111"/>
                    <a:pt x="55" y="114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49" y="126"/>
                    <a:pt x="43" y="128"/>
                    <a:pt x="38" y="131"/>
                  </a:cubicBezTo>
                  <a:cubicBezTo>
                    <a:pt x="22" y="119"/>
                    <a:pt x="12" y="100"/>
                    <a:pt x="12" y="78"/>
                  </a:cubicBezTo>
                  <a:cubicBezTo>
                    <a:pt x="12" y="42"/>
                    <a:pt x="41" y="12"/>
                    <a:pt x="78" y="12"/>
                  </a:cubicBezTo>
                  <a:cubicBezTo>
                    <a:pt x="114" y="12"/>
                    <a:pt x="144" y="42"/>
                    <a:pt x="144" y="78"/>
                  </a:cubicBezTo>
                  <a:cubicBezTo>
                    <a:pt x="144" y="100"/>
                    <a:pt x="134" y="119"/>
                    <a:pt x="118" y="1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A8DB1EF7-B4F2-4C78-9EBC-9F7E16168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288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2"/>
                    <a:pt x="21" y="0"/>
                    <a:pt x="1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9E3F8CA7-0F4B-4F85-81CE-17DA63E40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2252"/>
              <a:ext cx="74" cy="18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5" y="12"/>
                    <a:pt x="48" y="9"/>
                    <a:pt x="48" y="6"/>
                  </a:cubicBezTo>
                  <a:cubicBezTo>
                    <a:pt x="48" y="2"/>
                    <a:pt x="45" y="0"/>
                    <a:pt x="4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id="{39C29068-057D-45AB-9FA9-8B0F23AB5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191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2" y="36"/>
                    <a:pt x="6" y="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7" name="Freeform 88">
              <a:extLst>
                <a:ext uri="{FF2B5EF4-FFF2-40B4-BE49-F238E27FC236}">
                  <a16:creationId xmlns:a16="http://schemas.microsoft.com/office/drawing/2014/main" id="{CA19B0F7-3B87-4621-BB53-CBDE997DA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8" name="Freeform 89">
              <a:extLst>
                <a:ext uri="{FF2B5EF4-FFF2-40B4-BE49-F238E27FC236}">
                  <a16:creationId xmlns:a16="http://schemas.microsoft.com/office/drawing/2014/main" id="{758E107B-D5FB-4E68-A39C-7C0515D20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10"/>
                    <a:pt x="36" y="6"/>
                  </a:cubicBezTo>
                  <a:cubicBezTo>
                    <a:pt x="36" y="3"/>
                    <a:pt x="34" y="0"/>
                    <a:pt x="3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9" name="Freeform 90">
              <a:extLst>
                <a:ext uri="{FF2B5EF4-FFF2-40B4-BE49-F238E27FC236}">
                  <a16:creationId xmlns:a16="http://schemas.microsoft.com/office/drawing/2014/main" id="{A76C3E93-232D-4707-B307-533E8A377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49"/>
              <a:ext cx="58" cy="57"/>
            </a:xfrm>
            <a:custGeom>
              <a:avLst/>
              <a:gdLst>
                <a:gd name="T0" fmla="*/ 27 w 38"/>
                <a:gd name="T1" fmla="*/ 37 h 38"/>
                <a:gd name="T2" fmla="*/ 32 w 38"/>
                <a:gd name="T3" fmla="*/ 38 h 38"/>
                <a:gd name="T4" fmla="*/ 36 w 38"/>
                <a:gd name="T5" fmla="*/ 37 h 38"/>
                <a:gd name="T6" fmla="*/ 36 w 38"/>
                <a:gd name="T7" fmla="*/ 28 h 38"/>
                <a:gd name="T8" fmla="*/ 10 w 38"/>
                <a:gd name="T9" fmla="*/ 3 h 38"/>
                <a:gd name="T10" fmla="*/ 2 w 38"/>
                <a:gd name="T11" fmla="*/ 3 h 38"/>
                <a:gd name="T12" fmla="*/ 2 w 38"/>
                <a:gd name="T13" fmla="*/ 11 h 38"/>
                <a:gd name="T14" fmla="*/ 27 w 38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27" y="37"/>
                  </a:moveTo>
                  <a:cubicBezTo>
                    <a:pt x="29" y="38"/>
                    <a:pt x="30" y="38"/>
                    <a:pt x="32" y="38"/>
                  </a:cubicBezTo>
                  <a:cubicBezTo>
                    <a:pt x="33" y="38"/>
                    <a:pt x="35" y="38"/>
                    <a:pt x="36" y="37"/>
                  </a:cubicBezTo>
                  <a:cubicBezTo>
                    <a:pt x="38" y="34"/>
                    <a:pt x="38" y="31"/>
                    <a:pt x="36" y="2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lnTo>
                    <a:pt x="27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50" name="Freeform 91">
              <a:extLst>
                <a:ext uri="{FF2B5EF4-FFF2-40B4-BE49-F238E27FC236}">
                  <a16:creationId xmlns:a16="http://schemas.microsoft.com/office/drawing/2014/main" id="{C3FDEC82-C31B-4A05-BFAC-C8C814527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1949"/>
              <a:ext cx="60" cy="57"/>
            </a:xfrm>
            <a:custGeom>
              <a:avLst/>
              <a:gdLst>
                <a:gd name="T0" fmla="*/ 7 w 39"/>
                <a:gd name="T1" fmla="*/ 38 h 38"/>
                <a:gd name="T2" fmla="*/ 11 w 39"/>
                <a:gd name="T3" fmla="*/ 37 h 38"/>
                <a:gd name="T4" fmla="*/ 36 w 39"/>
                <a:gd name="T5" fmla="*/ 11 h 38"/>
                <a:gd name="T6" fmla="*/ 36 w 39"/>
                <a:gd name="T7" fmla="*/ 3 h 38"/>
                <a:gd name="T8" fmla="*/ 28 w 39"/>
                <a:gd name="T9" fmla="*/ 3 h 38"/>
                <a:gd name="T10" fmla="*/ 2 w 39"/>
                <a:gd name="T11" fmla="*/ 28 h 38"/>
                <a:gd name="T12" fmla="*/ 2 w 39"/>
                <a:gd name="T13" fmla="*/ 37 h 38"/>
                <a:gd name="T14" fmla="*/ 7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7" y="38"/>
                  </a:moveTo>
                  <a:cubicBezTo>
                    <a:pt x="8" y="38"/>
                    <a:pt x="10" y="38"/>
                    <a:pt x="11" y="37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9"/>
                    <a:pt x="39" y="5"/>
                    <a:pt x="36" y="3"/>
                  </a:cubicBezTo>
                  <a:cubicBezTo>
                    <a:pt x="34" y="0"/>
                    <a:pt x="30" y="0"/>
                    <a:pt x="28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8"/>
                    <a:pt x="5" y="38"/>
                    <a:pt x="7" y="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933041EA-9243-4114-9CCC-8C1B9591CFC1}"/>
              </a:ext>
            </a:extLst>
          </p:cNvPr>
          <p:cNvSpPr txBox="1">
            <a:spLocks/>
          </p:cNvSpPr>
          <p:nvPr userDrawn="1"/>
        </p:nvSpPr>
        <p:spPr>
          <a:xfrm>
            <a:off x="9682733" y="5887248"/>
            <a:ext cx="219679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2"/>
                </a:solidFill>
              </a:rPr>
              <a:t>Languages</a:t>
            </a:r>
          </a:p>
        </p:txBody>
      </p:sp>
      <p:sp>
        <p:nvSpPr>
          <p:cNvPr id="52" name="Freeform 89">
            <a:extLst>
              <a:ext uri="{FF2B5EF4-FFF2-40B4-BE49-F238E27FC236}">
                <a16:creationId xmlns:a16="http://schemas.microsoft.com/office/drawing/2014/main" id="{3E0E9A3A-1B55-418B-B993-1C65A1DD6C9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318492" y="5957858"/>
            <a:ext cx="274320" cy="229244"/>
          </a:xfrm>
          <a:custGeom>
            <a:avLst/>
            <a:gdLst>
              <a:gd name="T0" fmla="*/ 108 w 288"/>
              <a:gd name="T1" fmla="*/ 240 h 240"/>
              <a:gd name="T2" fmla="*/ 105 w 288"/>
              <a:gd name="T3" fmla="*/ 240 h 240"/>
              <a:gd name="T4" fmla="*/ 102 w 288"/>
              <a:gd name="T5" fmla="*/ 234 h 240"/>
              <a:gd name="T6" fmla="*/ 102 w 288"/>
              <a:gd name="T7" fmla="*/ 192 h 240"/>
              <a:gd name="T8" fmla="*/ 96 w 288"/>
              <a:gd name="T9" fmla="*/ 192 h 240"/>
              <a:gd name="T10" fmla="*/ 0 w 288"/>
              <a:gd name="T11" fmla="*/ 96 h 240"/>
              <a:gd name="T12" fmla="*/ 96 w 288"/>
              <a:gd name="T13" fmla="*/ 0 h 240"/>
              <a:gd name="T14" fmla="*/ 192 w 288"/>
              <a:gd name="T15" fmla="*/ 0 h 240"/>
              <a:gd name="T16" fmla="*/ 288 w 288"/>
              <a:gd name="T17" fmla="*/ 96 h 240"/>
              <a:gd name="T18" fmla="*/ 192 w 288"/>
              <a:gd name="T19" fmla="*/ 192 h 240"/>
              <a:gd name="T20" fmla="*/ 158 w 288"/>
              <a:gd name="T21" fmla="*/ 192 h 240"/>
              <a:gd name="T22" fmla="*/ 112 w 288"/>
              <a:gd name="T23" fmla="*/ 238 h 240"/>
              <a:gd name="T24" fmla="*/ 108 w 288"/>
              <a:gd name="T25" fmla="*/ 240 h 240"/>
              <a:gd name="T26" fmla="*/ 96 w 288"/>
              <a:gd name="T27" fmla="*/ 12 h 240"/>
              <a:gd name="T28" fmla="*/ 12 w 288"/>
              <a:gd name="T29" fmla="*/ 96 h 240"/>
              <a:gd name="T30" fmla="*/ 96 w 288"/>
              <a:gd name="T31" fmla="*/ 180 h 240"/>
              <a:gd name="T32" fmla="*/ 108 w 288"/>
              <a:gd name="T33" fmla="*/ 180 h 240"/>
              <a:gd name="T34" fmla="*/ 114 w 288"/>
              <a:gd name="T35" fmla="*/ 186 h 240"/>
              <a:gd name="T36" fmla="*/ 114 w 288"/>
              <a:gd name="T37" fmla="*/ 220 h 240"/>
              <a:gd name="T38" fmla="*/ 151 w 288"/>
              <a:gd name="T39" fmla="*/ 182 h 240"/>
              <a:gd name="T40" fmla="*/ 156 w 288"/>
              <a:gd name="T41" fmla="*/ 180 h 240"/>
              <a:gd name="T42" fmla="*/ 192 w 288"/>
              <a:gd name="T43" fmla="*/ 180 h 240"/>
              <a:gd name="T44" fmla="*/ 276 w 288"/>
              <a:gd name="T45" fmla="*/ 96 h 240"/>
              <a:gd name="T46" fmla="*/ 192 w 288"/>
              <a:gd name="T47" fmla="*/ 12 h 240"/>
              <a:gd name="T48" fmla="*/ 96 w 288"/>
              <a:gd name="T49" fmla="*/ 1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88" h="240">
                <a:moveTo>
                  <a:pt x="108" y="240"/>
                </a:moveTo>
                <a:cubicBezTo>
                  <a:pt x="107" y="240"/>
                  <a:pt x="106" y="240"/>
                  <a:pt x="105" y="240"/>
                </a:cubicBezTo>
                <a:cubicBezTo>
                  <a:pt x="103" y="239"/>
                  <a:pt x="102" y="237"/>
                  <a:pt x="102" y="234"/>
                </a:cubicBezTo>
                <a:cubicBezTo>
                  <a:pt x="102" y="192"/>
                  <a:pt x="102" y="192"/>
                  <a:pt x="102" y="192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43" y="192"/>
                  <a:pt x="0" y="149"/>
                  <a:pt x="0" y="96"/>
                </a:cubicBezTo>
                <a:cubicBezTo>
                  <a:pt x="0" y="43"/>
                  <a:pt x="43" y="0"/>
                  <a:pt x="96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245" y="0"/>
                  <a:pt x="288" y="43"/>
                  <a:pt x="288" y="96"/>
                </a:cubicBezTo>
                <a:cubicBezTo>
                  <a:pt x="288" y="149"/>
                  <a:pt x="245" y="192"/>
                  <a:pt x="192" y="192"/>
                </a:cubicBezTo>
                <a:cubicBezTo>
                  <a:pt x="158" y="192"/>
                  <a:pt x="158" y="192"/>
                  <a:pt x="158" y="192"/>
                </a:cubicBezTo>
                <a:cubicBezTo>
                  <a:pt x="112" y="238"/>
                  <a:pt x="112" y="238"/>
                  <a:pt x="112" y="238"/>
                </a:cubicBezTo>
                <a:cubicBezTo>
                  <a:pt x="111" y="240"/>
                  <a:pt x="109" y="240"/>
                  <a:pt x="108" y="240"/>
                </a:cubicBezTo>
                <a:close/>
                <a:moveTo>
                  <a:pt x="96" y="12"/>
                </a:moveTo>
                <a:cubicBezTo>
                  <a:pt x="49" y="12"/>
                  <a:pt x="12" y="50"/>
                  <a:pt x="12" y="96"/>
                </a:cubicBezTo>
                <a:cubicBezTo>
                  <a:pt x="12" y="143"/>
                  <a:pt x="49" y="180"/>
                  <a:pt x="96" y="180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11" y="180"/>
                  <a:pt x="114" y="183"/>
                  <a:pt x="114" y="186"/>
                </a:cubicBezTo>
                <a:cubicBezTo>
                  <a:pt x="114" y="220"/>
                  <a:pt x="114" y="220"/>
                  <a:pt x="114" y="220"/>
                </a:cubicBezTo>
                <a:cubicBezTo>
                  <a:pt x="151" y="182"/>
                  <a:pt x="151" y="182"/>
                  <a:pt x="151" y="182"/>
                </a:cubicBezTo>
                <a:cubicBezTo>
                  <a:pt x="153" y="181"/>
                  <a:pt x="154" y="180"/>
                  <a:pt x="156" y="18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38" y="180"/>
                  <a:pt x="276" y="143"/>
                  <a:pt x="276" y="96"/>
                </a:cubicBezTo>
                <a:cubicBezTo>
                  <a:pt x="276" y="50"/>
                  <a:pt x="238" y="12"/>
                  <a:pt x="192" y="12"/>
                </a:cubicBezTo>
                <a:lnTo>
                  <a:pt x="96" y="1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cs typeface="Arial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2DEBC84-A7A5-49C9-9B83-0F8C04478C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266162" y="5857528"/>
            <a:ext cx="265176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F2679A-F6D2-4AC0-8A88-3A0DE38E255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208" y="1907471"/>
            <a:ext cx="2664000" cy="1106487"/>
          </a:xfrm>
        </p:spPr>
        <p:txBody>
          <a:bodyPr lIns="54000" tIns="36000" rIns="36000" bIns="36000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E25DF8B9-F230-475A-A2C2-4B765CB5360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15208" y="3728194"/>
            <a:ext cx="2664000" cy="1106487"/>
          </a:xfrm>
        </p:spPr>
        <p:txBody>
          <a:bodyPr lIns="54000" tIns="36000" rIns="36000" bIns="36000"/>
          <a:lstStyle>
            <a:lvl1pPr marL="0" inden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33C84085-71E8-457D-8C9C-350F5A46CC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15208" y="6254254"/>
            <a:ext cx="2664000" cy="252000"/>
          </a:xfrm>
        </p:spPr>
        <p:txBody>
          <a:bodyPr lIns="54000" tIns="36000" rIns="36000" bIns="36000"/>
          <a:lstStyle>
            <a:lvl1pPr marL="0" inden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11665D1-E656-413D-8788-0176DAD132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32107" y="1861782"/>
            <a:ext cx="6282000" cy="4488298"/>
          </a:xfrm>
        </p:spPr>
        <p:txBody>
          <a:bodyPr lIns="54000" tIns="36000" rIns="36000" bIns="36000" numCol="2" spcCol="25200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8805783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2073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en-US"/>
              <a:t>Add client logo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532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5106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96968C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1977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49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7492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US"/>
              <a:t>Add client logo</a:t>
            </a:r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1935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US"/>
              <a:t>Add client logo</a:t>
            </a:r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4601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US"/>
              <a:t>Add client logo</a:t>
            </a:r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4355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96968C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412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alu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rmat Background… &gt; Picture or texture fill &gt; Set to one of the dark or mid gradient options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9307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US"/>
              <a:t>Place subtitle here in GT Sectra Fine Rg 24pt</a:t>
            </a:r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50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US"/>
              <a:t>Place subtitle here in GT Sectra Fine Rg 24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1802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US"/>
              <a:t>Place subtitle here in GT Sectra Fine Rg 24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2750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subtitle here in GT Sectra Fine Rg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0374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4112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8602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280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Rg 24pt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8173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860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978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alut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rmat Background… &gt; Picture or texture fill &gt; Set to one of the dark or mid gradient options</a:t>
            </a:r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5779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611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855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7173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7736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2563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US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030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24758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, use indent to access other levels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50513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, then ‘Send to Back’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Rg 24pt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2373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Arial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Arial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Rg 24pt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4577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172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742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3255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2926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B918B6-32FF-4857-A645-C1032AFAE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5333969" cy="239395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US"/>
              <a:t>Drag picture to placeholder </a:t>
            </a:r>
          </a:p>
          <a:p>
            <a:pPr marL="228600" lvl="0" indent="-228600" algn="ctr"/>
            <a:r>
              <a:rPr lang="en-US"/>
              <a:t>or click icon to add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117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974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rmat Background… &gt; Solid fill &gt; Change to Dark Purple (Accent 3), Mid Purple (Accent 2) or Core Purple (Accent 1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4109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701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9292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81D62B4-50F4-4143-BFCC-F5508365C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CFBA7-F1B1-4FF3-932C-7525FBDA5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C32AC5-FD59-4897-A83F-88E496C1AF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98638" y="2660650"/>
            <a:ext cx="1735137" cy="812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9778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BF2C1-BAA9-4BAD-9934-C110D7303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030600-A2B3-4AAD-808D-56DA9B7733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520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356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ccenture Greater Than symbol in white">
            <a:extLst>
              <a:ext uri="{FF2B5EF4-FFF2-40B4-BE49-F238E27FC236}">
                <a16:creationId xmlns:a16="http://schemas.microsoft.com/office/drawing/2014/main" id="{9DEA0E7F-4F0B-4028-9DCD-1D5D599C5A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A100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1783987" y="6522601"/>
            <a:ext cx="191087" cy="2023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45D549-9B0D-43BF-B4D5-F60832335E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85" r="30397" b="31908"/>
          <a:stretch/>
        </p:blipFill>
        <p:spPr bwMode="invGray">
          <a:xfrm>
            <a:off x="1802" y="2620706"/>
            <a:ext cx="2640814" cy="4237293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B1727A3-A4C0-44D9-9D35-05D3DD38FFD6}"/>
              </a:ext>
            </a:extLst>
          </p:cNvPr>
          <p:cNvSpPr txBox="1">
            <a:spLocks/>
          </p:cNvSpPr>
          <p:nvPr userDrawn="1"/>
        </p:nvSpPr>
        <p:spPr>
          <a:xfrm>
            <a:off x="407840" y="2754154"/>
            <a:ext cx="219679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Roboto Medium" panose="02000000000000000000" pitchFamily="2" charset="0"/>
                <a:cs typeface="+mn-cs"/>
              </a:rPr>
              <a:t>About m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E828E6-CC30-4950-97D5-B5ED59078F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167" y="2801322"/>
            <a:ext cx="182880" cy="200133"/>
            <a:chOff x="873570" y="2923982"/>
            <a:chExt cx="308751" cy="337878"/>
          </a:xfrm>
        </p:grpSpPr>
        <p:sp>
          <p:nvSpPr>
            <p:cNvPr id="12" name="Freeform 165">
              <a:extLst>
                <a:ext uri="{FF2B5EF4-FFF2-40B4-BE49-F238E27FC236}">
                  <a16:creationId xmlns:a16="http://schemas.microsoft.com/office/drawing/2014/main" id="{0DB34C81-406B-4E6D-A240-8BB1827CE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4058" y="2923982"/>
              <a:ext cx="207776" cy="201951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  <p:sp>
          <p:nvSpPr>
            <p:cNvPr id="13" name="Freeform 166">
              <a:extLst>
                <a:ext uri="{FF2B5EF4-FFF2-40B4-BE49-F238E27FC236}">
                  <a16:creationId xmlns:a16="http://schemas.microsoft.com/office/drawing/2014/main" id="{219B28DA-9A70-467F-B269-500F4B753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570" y="3092921"/>
              <a:ext cx="308751" cy="16893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2 w 108"/>
                <a:gd name="T13" fmla="*/ 48 h 60"/>
                <a:gd name="T14" fmla="*/ 95 w 108"/>
                <a:gd name="T15" fmla="*/ 48 h 60"/>
                <a:gd name="T16" fmla="*/ 54 w 108"/>
                <a:gd name="T17" fmla="*/ 12 h 60"/>
                <a:gd name="T18" fmla="*/ 12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7"/>
                    <a:pt x="105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5" y="48"/>
                    <a:pt x="95" y="48"/>
                    <a:pt x="95" y="48"/>
                  </a:cubicBezTo>
                  <a:cubicBezTo>
                    <a:pt x="93" y="27"/>
                    <a:pt x="75" y="12"/>
                    <a:pt x="54" y="12"/>
                  </a:cubicBezTo>
                  <a:cubicBezTo>
                    <a:pt x="33" y="12"/>
                    <a:pt x="15" y="27"/>
                    <a:pt x="12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</p:grpSp>
      <p:grpSp>
        <p:nvGrpSpPr>
          <p:cNvPr id="14" name="Group 169">
            <a:extLst>
              <a:ext uri="{FF2B5EF4-FFF2-40B4-BE49-F238E27FC236}">
                <a16:creationId xmlns:a16="http://schemas.microsoft.com/office/drawing/2014/main" id="{CC4E72F0-3299-4EFE-B018-3B85E693F96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5167" y="4931606"/>
            <a:ext cx="274320" cy="283018"/>
            <a:chOff x="2605" y="3204"/>
            <a:chExt cx="410" cy="423"/>
          </a:xfrm>
          <a:solidFill>
            <a:srgbClr val="FFFFFF"/>
          </a:solidFill>
        </p:grpSpPr>
        <p:sp>
          <p:nvSpPr>
            <p:cNvPr id="15" name="Freeform 170">
              <a:extLst>
                <a:ext uri="{FF2B5EF4-FFF2-40B4-BE49-F238E27FC236}">
                  <a16:creationId xmlns:a16="http://schemas.microsoft.com/office/drawing/2014/main" id="{E08DD1DF-F9B9-4EA6-9B1B-6CF735874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" y="3378"/>
              <a:ext cx="214" cy="249"/>
            </a:xfrm>
            <a:custGeom>
              <a:avLst/>
              <a:gdLst>
                <a:gd name="T0" fmla="*/ 66 w 144"/>
                <a:gd name="T1" fmla="*/ 168 h 168"/>
                <a:gd name="T2" fmla="*/ 63 w 144"/>
                <a:gd name="T3" fmla="*/ 167 h 168"/>
                <a:gd name="T4" fmla="*/ 3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3 w 144"/>
                <a:gd name="T11" fmla="*/ 40 h 168"/>
                <a:gd name="T12" fmla="*/ 63 w 144"/>
                <a:gd name="T13" fmla="*/ 1 h 168"/>
                <a:gd name="T14" fmla="*/ 69 w 144"/>
                <a:gd name="T15" fmla="*/ 1 h 168"/>
                <a:gd name="T16" fmla="*/ 141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1 w 144"/>
                <a:gd name="T23" fmla="*/ 128 h 168"/>
                <a:gd name="T24" fmla="*/ 69 w 144"/>
                <a:gd name="T25" fmla="*/ 167 h 168"/>
                <a:gd name="T26" fmla="*/ 66 w 144"/>
                <a:gd name="T27" fmla="*/ 168 h 168"/>
                <a:gd name="T28" fmla="*/ 12 w 144"/>
                <a:gd name="T29" fmla="*/ 120 h 168"/>
                <a:gd name="T30" fmla="*/ 67 w 144"/>
                <a:gd name="T31" fmla="*/ 155 h 168"/>
                <a:gd name="T32" fmla="*/ 132 w 144"/>
                <a:gd name="T33" fmla="*/ 120 h 168"/>
                <a:gd name="T34" fmla="*/ 132 w 144"/>
                <a:gd name="T35" fmla="*/ 49 h 168"/>
                <a:gd name="T36" fmla="*/ 67 w 144"/>
                <a:gd name="T37" fmla="*/ 13 h 168"/>
                <a:gd name="T38" fmla="*/ 12 w 144"/>
                <a:gd name="T39" fmla="*/ 48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66" y="168"/>
                  </a:moveTo>
                  <a:cubicBezTo>
                    <a:pt x="65" y="168"/>
                    <a:pt x="64" y="168"/>
                    <a:pt x="63" y="167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1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1" y="41"/>
                    <a:pt x="3" y="4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5" y="0"/>
                    <a:pt x="67" y="0"/>
                    <a:pt x="69" y="1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1" y="128"/>
                  </a:cubicBezTo>
                  <a:cubicBezTo>
                    <a:pt x="69" y="167"/>
                    <a:pt x="69" y="167"/>
                    <a:pt x="69" y="167"/>
                  </a:cubicBezTo>
                  <a:cubicBezTo>
                    <a:pt x="68" y="168"/>
                    <a:pt x="67" y="168"/>
                    <a:pt x="66" y="168"/>
                  </a:cubicBezTo>
                  <a:close/>
                  <a:moveTo>
                    <a:pt x="12" y="120"/>
                  </a:moveTo>
                  <a:cubicBezTo>
                    <a:pt x="67" y="155"/>
                    <a:pt x="67" y="155"/>
                    <a:pt x="67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12" y="48"/>
                    <a:pt x="12" y="48"/>
                    <a:pt x="12" y="48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6" name="Freeform 171">
              <a:extLst>
                <a:ext uri="{FF2B5EF4-FFF2-40B4-BE49-F238E27FC236}">
                  <a16:creationId xmlns:a16="http://schemas.microsoft.com/office/drawing/2014/main" id="{33EE6036-27E8-4C43-A1FD-338A7402E5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" y="3378"/>
              <a:ext cx="214" cy="249"/>
            </a:xfrm>
            <a:custGeom>
              <a:avLst/>
              <a:gdLst>
                <a:gd name="T0" fmla="*/ 78 w 144"/>
                <a:gd name="T1" fmla="*/ 168 h 168"/>
                <a:gd name="T2" fmla="*/ 76 w 144"/>
                <a:gd name="T3" fmla="*/ 167 h 168"/>
                <a:gd name="T4" fmla="*/ 4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4 w 144"/>
                <a:gd name="T11" fmla="*/ 40 h 168"/>
                <a:gd name="T12" fmla="*/ 76 w 144"/>
                <a:gd name="T13" fmla="*/ 1 h 168"/>
                <a:gd name="T14" fmla="*/ 82 w 144"/>
                <a:gd name="T15" fmla="*/ 1 h 168"/>
                <a:gd name="T16" fmla="*/ 142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2 w 144"/>
                <a:gd name="T23" fmla="*/ 128 h 168"/>
                <a:gd name="T24" fmla="*/ 82 w 144"/>
                <a:gd name="T25" fmla="*/ 167 h 168"/>
                <a:gd name="T26" fmla="*/ 78 w 144"/>
                <a:gd name="T27" fmla="*/ 168 h 168"/>
                <a:gd name="T28" fmla="*/ 12 w 144"/>
                <a:gd name="T29" fmla="*/ 120 h 168"/>
                <a:gd name="T30" fmla="*/ 78 w 144"/>
                <a:gd name="T31" fmla="*/ 155 h 168"/>
                <a:gd name="T32" fmla="*/ 132 w 144"/>
                <a:gd name="T33" fmla="*/ 120 h 168"/>
                <a:gd name="T34" fmla="*/ 132 w 144"/>
                <a:gd name="T35" fmla="*/ 48 h 168"/>
                <a:gd name="T36" fmla="*/ 78 w 144"/>
                <a:gd name="T37" fmla="*/ 13 h 168"/>
                <a:gd name="T38" fmla="*/ 12 w 144"/>
                <a:gd name="T39" fmla="*/ 49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80" y="0"/>
                    <a:pt x="82" y="1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2" y="128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1" y="168"/>
                    <a:pt x="80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7" name="Freeform 172">
              <a:extLst>
                <a:ext uri="{FF2B5EF4-FFF2-40B4-BE49-F238E27FC236}">
                  <a16:creationId xmlns:a16="http://schemas.microsoft.com/office/drawing/2014/main" id="{2AAA9EE7-A458-4D41-8F96-C74AE9DC12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4" y="3204"/>
              <a:ext cx="232" cy="250"/>
            </a:xfrm>
            <a:custGeom>
              <a:avLst/>
              <a:gdLst>
                <a:gd name="T0" fmla="*/ 78 w 156"/>
                <a:gd name="T1" fmla="*/ 168 h 168"/>
                <a:gd name="T2" fmla="*/ 76 w 156"/>
                <a:gd name="T3" fmla="*/ 167 h 168"/>
                <a:gd name="T4" fmla="*/ 4 w 156"/>
                <a:gd name="T5" fmla="*/ 128 h 168"/>
                <a:gd name="T6" fmla="*/ 0 w 156"/>
                <a:gd name="T7" fmla="*/ 123 h 168"/>
                <a:gd name="T8" fmla="*/ 0 w 156"/>
                <a:gd name="T9" fmla="*/ 45 h 168"/>
                <a:gd name="T10" fmla="*/ 4 w 156"/>
                <a:gd name="T11" fmla="*/ 40 h 168"/>
                <a:gd name="T12" fmla="*/ 76 w 156"/>
                <a:gd name="T13" fmla="*/ 1 h 168"/>
                <a:gd name="T14" fmla="*/ 81 w 156"/>
                <a:gd name="T15" fmla="*/ 1 h 168"/>
                <a:gd name="T16" fmla="*/ 153 w 156"/>
                <a:gd name="T17" fmla="*/ 40 h 168"/>
                <a:gd name="T18" fmla="*/ 156 w 156"/>
                <a:gd name="T19" fmla="*/ 45 h 168"/>
                <a:gd name="T20" fmla="*/ 156 w 156"/>
                <a:gd name="T21" fmla="*/ 123 h 168"/>
                <a:gd name="T22" fmla="*/ 153 w 156"/>
                <a:gd name="T23" fmla="*/ 128 h 168"/>
                <a:gd name="T24" fmla="*/ 81 w 156"/>
                <a:gd name="T25" fmla="*/ 167 h 168"/>
                <a:gd name="T26" fmla="*/ 78 w 156"/>
                <a:gd name="T27" fmla="*/ 168 h 168"/>
                <a:gd name="T28" fmla="*/ 12 w 156"/>
                <a:gd name="T29" fmla="*/ 120 h 168"/>
                <a:gd name="T30" fmla="*/ 78 w 156"/>
                <a:gd name="T31" fmla="*/ 155 h 168"/>
                <a:gd name="T32" fmla="*/ 144 w 156"/>
                <a:gd name="T33" fmla="*/ 120 h 168"/>
                <a:gd name="T34" fmla="*/ 144 w 156"/>
                <a:gd name="T35" fmla="*/ 49 h 168"/>
                <a:gd name="T36" fmla="*/ 78 w 156"/>
                <a:gd name="T37" fmla="*/ 13 h 168"/>
                <a:gd name="T38" fmla="*/ 12 w 156"/>
                <a:gd name="T39" fmla="*/ 49 h 168"/>
                <a:gd name="T40" fmla="*/ 12 w 156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6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80" y="0"/>
                    <a:pt x="81" y="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5" y="41"/>
                    <a:pt x="156" y="43"/>
                    <a:pt x="156" y="45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5"/>
                    <a:pt x="155" y="127"/>
                    <a:pt x="153" y="12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80" y="168"/>
                    <a:pt x="79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49"/>
                    <a:pt x="144" y="49"/>
                    <a:pt x="144" y="4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D1CA538A-F97A-485F-BA02-99CBBF3BE68C}"/>
              </a:ext>
            </a:extLst>
          </p:cNvPr>
          <p:cNvSpPr txBox="1">
            <a:spLocks/>
          </p:cNvSpPr>
          <p:nvPr userDrawn="1"/>
        </p:nvSpPr>
        <p:spPr>
          <a:xfrm>
            <a:off x="407840" y="4916970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>
                <a:solidFill>
                  <a:srgbClr val="FFFFFF"/>
                </a:solidFill>
                <a:latin typeface="Graphik"/>
              </a:rPr>
              <a:t>Industry experience</a:t>
            </a:r>
          </a:p>
        </p:txBody>
      </p:sp>
      <p:sp>
        <p:nvSpPr>
          <p:cNvPr id="19" name="Rechteck 5">
            <a:extLst>
              <a:ext uri="{FF2B5EF4-FFF2-40B4-BE49-F238E27FC236}">
                <a16:creationId xmlns:a16="http://schemas.microsoft.com/office/drawing/2014/main" id="{D1E7838B-6134-46EE-8E23-4302A047D69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2642616" y="1019706"/>
            <a:ext cx="9542241" cy="426864"/>
          </a:xfrm>
          <a:prstGeom prst="rect">
            <a:avLst/>
          </a:prstGeom>
          <a:pattFill prst="ltUpDiag">
            <a:fgClr>
              <a:srgbClr val="FFFFFF"/>
            </a:fgClr>
            <a:bgClr>
              <a:srgbClr val="E8ECEC"/>
            </a:bgClr>
          </a:patt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7759A8-84D9-4E83-A2DB-95B65584119E}"/>
              </a:ext>
            </a:extLst>
          </p:cNvPr>
          <p:cNvSpPr txBox="1"/>
          <p:nvPr userDrawn="1"/>
        </p:nvSpPr>
        <p:spPr>
          <a:xfrm>
            <a:off x="7970984" y="575354"/>
            <a:ext cx="4068000" cy="33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228600">
              <a:spcAft>
                <a:spcPts val="1200"/>
              </a:spcAft>
            </a:pPr>
            <a:r>
              <a:rPr lang="en-US" sz="2000">
                <a:solidFill>
                  <a:srgbClr val="000000"/>
                </a:solidFill>
                <a:latin typeface="Graphik"/>
              </a:rPr>
              <a:t>Accenture 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Data&amp;</a:t>
            </a:r>
            <a:r>
              <a:rPr lang="en-US" sz="2000">
                <a:solidFill>
                  <a:srgbClr val="000000"/>
                </a:solidFill>
                <a:latin typeface="Graphik"/>
              </a:rPr>
              <a:t>A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I</a:t>
            </a:r>
            <a:endParaRPr lang="en-US" sz="2000">
              <a:solidFill>
                <a:srgbClr val="000000"/>
              </a:solidFill>
              <a:latin typeface="Graphik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2D55710-BEDC-4028-93A6-EA9177018FF7}"/>
              </a:ext>
            </a:extLst>
          </p:cNvPr>
          <p:cNvSpPr txBox="1">
            <a:spLocks/>
          </p:cNvSpPr>
          <p:nvPr userDrawn="1"/>
        </p:nvSpPr>
        <p:spPr>
          <a:xfrm>
            <a:off x="9682733" y="1556713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>
                <a:solidFill>
                  <a:srgbClr val="7500C0"/>
                </a:solidFill>
                <a:latin typeface="Graphik"/>
              </a:rPr>
              <a:t>Education</a:t>
            </a:r>
          </a:p>
        </p:txBody>
      </p:sp>
      <p:grpSp>
        <p:nvGrpSpPr>
          <p:cNvPr id="22" name="Group 209">
            <a:extLst>
              <a:ext uri="{FF2B5EF4-FFF2-40B4-BE49-F238E27FC236}">
                <a16:creationId xmlns:a16="http://schemas.microsoft.com/office/drawing/2014/main" id="{BED3242A-6E79-48C6-A851-271F22DD82B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18492" y="1614364"/>
            <a:ext cx="274320" cy="268099"/>
            <a:chOff x="5687" y="662"/>
            <a:chExt cx="441" cy="431"/>
          </a:xfrm>
          <a:solidFill>
            <a:srgbClr val="7500C0"/>
          </a:solidFill>
        </p:grpSpPr>
        <p:sp>
          <p:nvSpPr>
            <p:cNvPr id="23" name="Freeform 210">
              <a:extLst>
                <a:ext uri="{FF2B5EF4-FFF2-40B4-BE49-F238E27FC236}">
                  <a16:creationId xmlns:a16="http://schemas.microsoft.com/office/drawing/2014/main" id="{C036DE7B-1825-4016-A4A1-2F39D4212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7" y="930"/>
              <a:ext cx="441" cy="163"/>
            </a:xfrm>
            <a:custGeom>
              <a:avLst/>
              <a:gdLst>
                <a:gd name="T0" fmla="*/ 282 w 288"/>
                <a:gd name="T1" fmla="*/ 109 h 109"/>
                <a:gd name="T2" fmla="*/ 6 w 288"/>
                <a:gd name="T3" fmla="*/ 109 h 109"/>
                <a:gd name="T4" fmla="*/ 0 w 288"/>
                <a:gd name="T5" fmla="*/ 103 h 109"/>
                <a:gd name="T6" fmla="*/ 0 w 288"/>
                <a:gd name="T7" fmla="*/ 73 h 109"/>
                <a:gd name="T8" fmla="*/ 35 w 288"/>
                <a:gd name="T9" fmla="*/ 22 h 109"/>
                <a:gd name="T10" fmla="*/ 36 w 288"/>
                <a:gd name="T11" fmla="*/ 22 h 109"/>
                <a:gd name="T12" fmla="*/ 112 w 288"/>
                <a:gd name="T13" fmla="*/ 1 h 109"/>
                <a:gd name="T14" fmla="*/ 119 w 288"/>
                <a:gd name="T15" fmla="*/ 5 h 109"/>
                <a:gd name="T16" fmla="*/ 115 w 288"/>
                <a:gd name="T17" fmla="*/ 13 h 109"/>
                <a:gd name="T18" fmla="*/ 39 w 288"/>
                <a:gd name="T19" fmla="*/ 34 h 109"/>
                <a:gd name="T20" fmla="*/ 12 w 288"/>
                <a:gd name="T21" fmla="*/ 73 h 109"/>
                <a:gd name="T22" fmla="*/ 12 w 288"/>
                <a:gd name="T23" fmla="*/ 97 h 109"/>
                <a:gd name="T24" fmla="*/ 276 w 288"/>
                <a:gd name="T25" fmla="*/ 97 h 109"/>
                <a:gd name="T26" fmla="*/ 276 w 288"/>
                <a:gd name="T27" fmla="*/ 73 h 109"/>
                <a:gd name="T28" fmla="*/ 249 w 288"/>
                <a:gd name="T29" fmla="*/ 34 h 109"/>
                <a:gd name="T30" fmla="*/ 173 w 288"/>
                <a:gd name="T31" fmla="*/ 13 h 109"/>
                <a:gd name="T32" fmla="*/ 169 w 288"/>
                <a:gd name="T33" fmla="*/ 5 h 109"/>
                <a:gd name="T34" fmla="*/ 176 w 288"/>
                <a:gd name="T35" fmla="*/ 1 h 109"/>
                <a:gd name="T36" fmla="*/ 253 w 288"/>
                <a:gd name="T37" fmla="*/ 22 h 109"/>
                <a:gd name="T38" fmla="*/ 253 w 288"/>
                <a:gd name="T39" fmla="*/ 22 h 109"/>
                <a:gd name="T40" fmla="*/ 288 w 288"/>
                <a:gd name="T41" fmla="*/ 73 h 109"/>
                <a:gd name="T42" fmla="*/ 288 w 288"/>
                <a:gd name="T43" fmla="*/ 103 h 109"/>
                <a:gd name="T44" fmla="*/ 282 w 288"/>
                <a:gd name="T4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8" h="109">
                  <a:moveTo>
                    <a:pt x="282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14" y="30"/>
                    <a:pt x="35" y="22"/>
                  </a:cubicBezTo>
                  <a:cubicBezTo>
                    <a:pt x="35" y="22"/>
                    <a:pt x="36" y="22"/>
                    <a:pt x="36" y="22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5" y="0"/>
                    <a:pt x="118" y="2"/>
                    <a:pt x="119" y="5"/>
                  </a:cubicBezTo>
                  <a:cubicBezTo>
                    <a:pt x="120" y="8"/>
                    <a:pt x="118" y="12"/>
                    <a:pt x="115" y="1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23" y="40"/>
                    <a:pt x="12" y="56"/>
                    <a:pt x="12" y="7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276" y="97"/>
                    <a:pt x="276" y="97"/>
                    <a:pt x="276" y="97"/>
                  </a:cubicBezTo>
                  <a:cubicBezTo>
                    <a:pt x="276" y="73"/>
                    <a:pt x="276" y="73"/>
                    <a:pt x="276" y="73"/>
                  </a:cubicBezTo>
                  <a:cubicBezTo>
                    <a:pt x="276" y="56"/>
                    <a:pt x="265" y="40"/>
                    <a:pt x="249" y="3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0" y="12"/>
                    <a:pt x="168" y="8"/>
                    <a:pt x="169" y="5"/>
                  </a:cubicBezTo>
                  <a:cubicBezTo>
                    <a:pt x="170" y="2"/>
                    <a:pt x="173" y="0"/>
                    <a:pt x="176" y="1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74" y="30"/>
                    <a:pt x="288" y="50"/>
                    <a:pt x="288" y="73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8" y="106"/>
                    <a:pt x="286" y="109"/>
                    <a:pt x="282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4" name="Freeform 211">
              <a:extLst>
                <a:ext uri="{FF2B5EF4-FFF2-40B4-BE49-F238E27FC236}">
                  <a16:creationId xmlns:a16="http://schemas.microsoft.com/office/drawing/2014/main" id="{E6793C43-D202-4501-849F-0E17B8AA4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3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  <a:gd name="T38" fmla="*/ 12 w 36"/>
                <a:gd name="T3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5" name="Freeform 212">
              <a:extLst>
                <a:ext uri="{FF2B5EF4-FFF2-40B4-BE49-F238E27FC236}">
                  <a16:creationId xmlns:a16="http://schemas.microsoft.com/office/drawing/2014/main" id="{F3A778EF-8185-445A-B5B9-107C127B8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6" name="Freeform 213">
              <a:extLst>
                <a:ext uri="{FF2B5EF4-FFF2-40B4-BE49-F238E27FC236}">
                  <a16:creationId xmlns:a16="http://schemas.microsoft.com/office/drawing/2014/main" id="{743A6F23-D66B-418F-B749-B29DF5228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" y="761"/>
              <a:ext cx="130" cy="206"/>
            </a:xfrm>
            <a:custGeom>
              <a:avLst/>
              <a:gdLst>
                <a:gd name="T0" fmla="*/ 79 w 85"/>
                <a:gd name="T1" fmla="*/ 138 h 138"/>
                <a:gd name="T2" fmla="*/ 13 w 85"/>
                <a:gd name="T3" fmla="*/ 77 h 138"/>
                <a:gd name="T4" fmla="*/ 0 w 85"/>
                <a:gd name="T5" fmla="*/ 54 h 138"/>
                <a:gd name="T6" fmla="*/ 13 w 85"/>
                <a:gd name="T7" fmla="*/ 31 h 138"/>
                <a:gd name="T8" fmla="*/ 13 w 85"/>
                <a:gd name="T9" fmla="*/ 6 h 138"/>
                <a:gd name="T10" fmla="*/ 19 w 85"/>
                <a:gd name="T11" fmla="*/ 0 h 138"/>
                <a:gd name="T12" fmla="*/ 25 w 85"/>
                <a:gd name="T13" fmla="*/ 6 h 138"/>
                <a:gd name="T14" fmla="*/ 25 w 85"/>
                <a:gd name="T15" fmla="*/ 36 h 138"/>
                <a:gd name="T16" fmla="*/ 19 w 85"/>
                <a:gd name="T17" fmla="*/ 42 h 138"/>
                <a:gd name="T18" fmla="*/ 12 w 85"/>
                <a:gd name="T19" fmla="*/ 54 h 138"/>
                <a:gd name="T20" fmla="*/ 19 w 85"/>
                <a:gd name="T21" fmla="*/ 66 h 138"/>
                <a:gd name="T22" fmla="*/ 25 w 85"/>
                <a:gd name="T23" fmla="*/ 72 h 138"/>
                <a:gd name="T24" fmla="*/ 79 w 85"/>
                <a:gd name="T25" fmla="*/ 126 h 138"/>
                <a:gd name="T26" fmla="*/ 85 w 85"/>
                <a:gd name="T27" fmla="*/ 132 h 138"/>
                <a:gd name="T28" fmla="*/ 79 w 85"/>
                <a:gd name="T2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8">
                  <a:moveTo>
                    <a:pt x="79" y="138"/>
                  </a:moveTo>
                  <a:cubicBezTo>
                    <a:pt x="60" y="138"/>
                    <a:pt x="17" y="114"/>
                    <a:pt x="13" y="77"/>
                  </a:cubicBezTo>
                  <a:cubicBezTo>
                    <a:pt x="5" y="74"/>
                    <a:pt x="0" y="65"/>
                    <a:pt x="0" y="54"/>
                  </a:cubicBezTo>
                  <a:cubicBezTo>
                    <a:pt x="0" y="43"/>
                    <a:pt x="5" y="34"/>
                    <a:pt x="13" y="3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"/>
                    <a:pt x="16" y="0"/>
                    <a:pt x="19" y="0"/>
                  </a:cubicBezTo>
                  <a:cubicBezTo>
                    <a:pt x="23" y="0"/>
                    <a:pt x="25" y="3"/>
                    <a:pt x="25" y="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9"/>
                    <a:pt x="23" y="42"/>
                    <a:pt x="19" y="42"/>
                  </a:cubicBezTo>
                  <a:cubicBezTo>
                    <a:pt x="13" y="42"/>
                    <a:pt x="12" y="50"/>
                    <a:pt x="12" y="54"/>
                  </a:cubicBezTo>
                  <a:cubicBezTo>
                    <a:pt x="12" y="58"/>
                    <a:pt x="13" y="66"/>
                    <a:pt x="19" y="66"/>
                  </a:cubicBezTo>
                  <a:cubicBezTo>
                    <a:pt x="23" y="66"/>
                    <a:pt x="25" y="69"/>
                    <a:pt x="25" y="72"/>
                  </a:cubicBezTo>
                  <a:cubicBezTo>
                    <a:pt x="25" y="103"/>
                    <a:pt x="63" y="126"/>
                    <a:pt x="79" y="126"/>
                  </a:cubicBezTo>
                  <a:cubicBezTo>
                    <a:pt x="83" y="126"/>
                    <a:pt x="85" y="129"/>
                    <a:pt x="85" y="132"/>
                  </a:cubicBezTo>
                  <a:cubicBezTo>
                    <a:pt x="85" y="135"/>
                    <a:pt x="83" y="138"/>
                    <a:pt x="79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7" name="Freeform 214">
              <a:extLst>
                <a:ext uri="{FF2B5EF4-FFF2-40B4-BE49-F238E27FC236}">
                  <a16:creationId xmlns:a16="http://schemas.microsoft.com/office/drawing/2014/main" id="{9DEB99C5-9375-45D6-9458-2191255BE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8" y="761"/>
              <a:ext cx="132" cy="206"/>
            </a:xfrm>
            <a:custGeom>
              <a:avLst/>
              <a:gdLst>
                <a:gd name="T0" fmla="*/ 6 w 86"/>
                <a:gd name="T1" fmla="*/ 138 h 138"/>
                <a:gd name="T2" fmla="*/ 0 w 86"/>
                <a:gd name="T3" fmla="*/ 132 h 138"/>
                <a:gd name="T4" fmla="*/ 6 w 86"/>
                <a:gd name="T5" fmla="*/ 126 h 138"/>
                <a:gd name="T6" fmla="*/ 60 w 86"/>
                <a:gd name="T7" fmla="*/ 72 h 138"/>
                <a:gd name="T8" fmla="*/ 66 w 86"/>
                <a:gd name="T9" fmla="*/ 66 h 138"/>
                <a:gd name="T10" fmla="*/ 71 w 86"/>
                <a:gd name="T11" fmla="*/ 63 h 138"/>
                <a:gd name="T12" fmla="*/ 74 w 86"/>
                <a:gd name="T13" fmla="*/ 54 h 138"/>
                <a:gd name="T14" fmla="*/ 66 w 86"/>
                <a:gd name="T15" fmla="*/ 42 h 138"/>
                <a:gd name="T16" fmla="*/ 60 w 86"/>
                <a:gd name="T17" fmla="*/ 36 h 138"/>
                <a:gd name="T18" fmla="*/ 60 w 86"/>
                <a:gd name="T19" fmla="*/ 6 h 138"/>
                <a:gd name="T20" fmla="*/ 66 w 86"/>
                <a:gd name="T21" fmla="*/ 0 h 138"/>
                <a:gd name="T22" fmla="*/ 72 w 86"/>
                <a:gd name="T23" fmla="*/ 6 h 138"/>
                <a:gd name="T24" fmla="*/ 72 w 86"/>
                <a:gd name="T25" fmla="*/ 31 h 138"/>
                <a:gd name="T26" fmla="*/ 86 w 86"/>
                <a:gd name="T27" fmla="*/ 54 h 138"/>
                <a:gd name="T28" fmla="*/ 81 w 86"/>
                <a:gd name="T29" fmla="*/ 70 h 138"/>
                <a:gd name="T30" fmla="*/ 72 w 86"/>
                <a:gd name="T31" fmla="*/ 77 h 138"/>
                <a:gd name="T32" fmla="*/ 6 w 86"/>
                <a:gd name="T33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138">
                  <a:moveTo>
                    <a:pt x="6" y="138"/>
                  </a:moveTo>
                  <a:cubicBezTo>
                    <a:pt x="3" y="138"/>
                    <a:pt x="0" y="135"/>
                    <a:pt x="0" y="132"/>
                  </a:cubicBezTo>
                  <a:cubicBezTo>
                    <a:pt x="0" y="129"/>
                    <a:pt x="3" y="126"/>
                    <a:pt x="6" y="126"/>
                  </a:cubicBezTo>
                  <a:cubicBezTo>
                    <a:pt x="22" y="126"/>
                    <a:pt x="60" y="103"/>
                    <a:pt x="60" y="72"/>
                  </a:cubicBezTo>
                  <a:cubicBezTo>
                    <a:pt x="60" y="69"/>
                    <a:pt x="63" y="66"/>
                    <a:pt x="66" y="66"/>
                  </a:cubicBezTo>
                  <a:cubicBezTo>
                    <a:pt x="68" y="66"/>
                    <a:pt x="70" y="66"/>
                    <a:pt x="71" y="63"/>
                  </a:cubicBezTo>
                  <a:cubicBezTo>
                    <a:pt x="73" y="61"/>
                    <a:pt x="74" y="57"/>
                    <a:pt x="74" y="54"/>
                  </a:cubicBezTo>
                  <a:cubicBezTo>
                    <a:pt x="74" y="50"/>
                    <a:pt x="72" y="42"/>
                    <a:pt x="66" y="42"/>
                  </a:cubicBezTo>
                  <a:cubicBezTo>
                    <a:pt x="63" y="42"/>
                    <a:pt x="60" y="39"/>
                    <a:pt x="60" y="3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80" y="34"/>
                    <a:pt x="86" y="43"/>
                    <a:pt x="86" y="54"/>
                  </a:cubicBezTo>
                  <a:cubicBezTo>
                    <a:pt x="86" y="60"/>
                    <a:pt x="84" y="65"/>
                    <a:pt x="81" y="70"/>
                  </a:cubicBezTo>
                  <a:cubicBezTo>
                    <a:pt x="79" y="73"/>
                    <a:pt x="76" y="76"/>
                    <a:pt x="72" y="77"/>
                  </a:cubicBezTo>
                  <a:cubicBezTo>
                    <a:pt x="68" y="114"/>
                    <a:pt x="25" y="138"/>
                    <a:pt x="6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8" name="Freeform 215">
              <a:extLst>
                <a:ext uri="{FF2B5EF4-FFF2-40B4-BE49-F238E27FC236}">
                  <a16:creationId xmlns:a16="http://schemas.microsoft.com/office/drawing/2014/main" id="{EF26BA72-EEA7-433D-B2D5-790D0B436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7" y="662"/>
              <a:ext cx="441" cy="90"/>
            </a:xfrm>
            <a:custGeom>
              <a:avLst/>
              <a:gdLst>
                <a:gd name="T0" fmla="*/ 144 w 288"/>
                <a:gd name="T1" fmla="*/ 60 h 60"/>
                <a:gd name="T2" fmla="*/ 143 w 288"/>
                <a:gd name="T3" fmla="*/ 60 h 60"/>
                <a:gd name="T4" fmla="*/ 5 w 288"/>
                <a:gd name="T5" fmla="*/ 36 h 60"/>
                <a:gd name="T6" fmla="*/ 0 w 288"/>
                <a:gd name="T7" fmla="*/ 30 h 60"/>
                <a:gd name="T8" fmla="*/ 5 w 288"/>
                <a:gd name="T9" fmla="*/ 24 h 60"/>
                <a:gd name="T10" fmla="*/ 143 w 288"/>
                <a:gd name="T11" fmla="*/ 0 h 60"/>
                <a:gd name="T12" fmla="*/ 145 w 288"/>
                <a:gd name="T13" fmla="*/ 0 h 60"/>
                <a:gd name="T14" fmla="*/ 283 w 288"/>
                <a:gd name="T15" fmla="*/ 24 h 60"/>
                <a:gd name="T16" fmla="*/ 288 w 288"/>
                <a:gd name="T17" fmla="*/ 30 h 60"/>
                <a:gd name="T18" fmla="*/ 283 w 288"/>
                <a:gd name="T19" fmla="*/ 36 h 60"/>
                <a:gd name="T20" fmla="*/ 145 w 288"/>
                <a:gd name="T21" fmla="*/ 60 h 60"/>
                <a:gd name="T22" fmla="*/ 144 w 288"/>
                <a:gd name="T23" fmla="*/ 60 h 60"/>
                <a:gd name="T24" fmla="*/ 41 w 288"/>
                <a:gd name="T25" fmla="*/ 30 h 60"/>
                <a:gd name="T26" fmla="*/ 144 w 288"/>
                <a:gd name="T27" fmla="*/ 48 h 60"/>
                <a:gd name="T28" fmla="*/ 247 w 288"/>
                <a:gd name="T29" fmla="*/ 30 h 60"/>
                <a:gd name="T30" fmla="*/ 144 w 288"/>
                <a:gd name="T31" fmla="*/ 12 h 60"/>
                <a:gd name="T32" fmla="*/ 41 w 288"/>
                <a:gd name="T33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60">
                  <a:moveTo>
                    <a:pt x="144" y="60"/>
                  </a:moveTo>
                  <a:cubicBezTo>
                    <a:pt x="144" y="60"/>
                    <a:pt x="144" y="60"/>
                    <a:pt x="143" y="6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" y="35"/>
                    <a:pt x="0" y="33"/>
                    <a:pt x="0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4" y="0"/>
                    <a:pt x="145" y="0"/>
                    <a:pt x="145" y="0"/>
                  </a:cubicBezTo>
                  <a:cubicBezTo>
                    <a:pt x="283" y="24"/>
                    <a:pt x="283" y="24"/>
                    <a:pt x="283" y="24"/>
                  </a:cubicBezTo>
                  <a:cubicBezTo>
                    <a:pt x="286" y="24"/>
                    <a:pt x="288" y="27"/>
                    <a:pt x="288" y="30"/>
                  </a:cubicBezTo>
                  <a:cubicBezTo>
                    <a:pt x="288" y="33"/>
                    <a:pt x="286" y="35"/>
                    <a:pt x="283" y="36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5" y="60"/>
                    <a:pt x="144" y="60"/>
                  </a:cubicBezTo>
                  <a:close/>
                  <a:moveTo>
                    <a:pt x="41" y="30"/>
                  </a:moveTo>
                  <a:cubicBezTo>
                    <a:pt x="144" y="48"/>
                    <a:pt x="144" y="48"/>
                    <a:pt x="144" y="48"/>
                  </a:cubicBezTo>
                  <a:cubicBezTo>
                    <a:pt x="247" y="30"/>
                    <a:pt x="247" y="30"/>
                    <a:pt x="247" y="30"/>
                  </a:cubicBezTo>
                  <a:cubicBezTo>
                    <a:pt x="144" y="12"/>
                    <a:pt x="144" y="12"/>
                    <a:pt x="144" y="12"/>
                  </a:cubicBezTo>
                  <a:lnTo>
                    <a:pt x="4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9" name="Freeform 216">
              <a:extLst>
                <a:ext uri="{FF2B5EF4-FFF2-40B4-BE49-F238E27FC236}">
                  <a16:creationId xmlns:a16="http://schemas.microsoft.com/office/drawing/2014/main" id="{EC8E6074-932E-4B4E-8158-2BA47CFA6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" y="718"/>
              <a:ext cx="201" cy="88"/>
            </a:xfrm>
            <a:custGeom>
              <a:avLst/>
              <a:gdLst>
                <a:gd name="T0" fmla="*/ 66 w 132"/>
                <a:gd name="T1" fmla="*/ 59 h 59"/>
                <a:gd name="T2" fmla="*/ 2 w 132"/>
                <a:gd name="T3" fmla="*/ 39 h 59"/>
                <a:gd name="T4" fmla="*/ 0 w 132"/>
                <a:gd name="T5" fmla="*/ 35 h 59"/>
                <a:gd name="T6" fmla="*/ 0 w 132"/>
                <a:gd name="T7" fmla="*/ 6 h 59"/>
                <a:gd name="T8" fmla="*/ 6 w 132"/>
                <a:gd name="T9" fmla="*/ 0 h 59"/>
                <a:gd name="T10" fmla="*/ 12 w 132"/>
                <a:gd name="T11" fmla="*/ 6 h 59"/>
                <a:gd name="T12" fmla="*/ 12 w 132"/>
                <a:gd name="T13" fmla="*/ 32 h 59"/>
                <a:gd name="T14" fmla="*/ 66 w 132"/>
                <a:gd name="T15" fmla="*/ 47 h 59"/>
                <a:gd name="T16" fmla="*/ 120 w 132"/>
                <a:gd name="T17" fmla="*/ 32 h 59"/>
                <a:gd name="T18" fmla="*/ 120 w 132"/>
                <a:gd name="T19" fmla="*/ 6 h 59"/>
                <a:gd name="T20" fmla="*/ 126 w 132"/>
                <a:gd name="T21" fmla="*/ 0 h 59"/>
                <a:gd name="T22" fmla="*/ 132 w 132"/>
                <a:gd name="T23" fmla="*/ 6 h 59"/>
                <a:gd name="T24" fmla="*/ 132 w 132"/>
                <a:gd name="T25" fmla="*/ 35 h 59"/>
                <a:gd name="T26" fmla="*/ 130 w 132"/>
                <a:gd name="T27" fmla="*/ 39 h 59"/>
                <a:gd name="T28" fmla="*/ 66 w 132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59">
                  <a:moveTo>
                    <a:pt x="66" y="59"/>
                  </a:moveTo>
                  <a:cubicBezTo>
                    <a:pt x="22" y="59"/>
                    <a:pt x="3" y="40"/>
                    <a:pt x="2" y="39"/>
                  </a:cubicBezTo>
                  <a:cubicBezTo>
                    <a:pt x="1" y="38"/>
                    <a:pt x="0" y="36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7" y="36"/>
                    <a:pt x="35" y="47"/>
                    <a:pt x="66" y="47"/>
                  </a:cubicBezTo>
                  <a:cubicBezTo>
                    <a:pt x="98" y="47"/>
                    <a:pt x="115" y="36"/>
                    <a:pt x="120" y="32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3"/>
                    <a:pt x="123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6"/>
                    <a:pt x="132" y="38"/>
                    <a:pt x="130" y="39"/>
                  </a:cubicBezTo>
                  <a:cubicBezTo>
                    <a:pt x="130" y="40"/>
                    <a:pt x="110" y="59"/>
                    <a:pt x="66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0" name="Freeform 217">
              <a:extLst>
                <a:ext uri="{FF2B5EF4-FFF2-40B4-BE49-F238E27FC236}">
                  <a16:creationId xmlns:a16="http://schemas.microsoft.com/office/drawing/2014/main" id="{C8BED602-4B69-4DD9-ADEB-3984548A3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3" y="706"/>
              <a:ext cx="18" cy="82"/>
            </a:xfrm>
            <a:custGeom>
              <a:avLst/>
              <a:gdLst>
                <a:gd name="T0" fmla="*/ 6 w 12"/>
                <a:gd name="T1" fmla="*/ 55 h 55"/>
                <a:gd name="T2" fmla="*/ 0 w 12"/>
                <a:gd name="T3" fmla="*/ 49 h 55"/>
                <a:gd name="T4" fmla="*/ 0 w 12"/>
                <a:gd name="T5" fmla="*/ 6 h 55"/>
                <a:gd name="T6" fmla="*/ 6 w 12"/>
                <a:gd name="T7" fmla="*/ 0 h 55"/>
                <a:gd name="T8" fmla="*/ 12 w 12"/>
                <a:gd name="T9" fmla="*/ 6 h 55"/>
                <a:gd name="T10" fmla="*/ 12 w 12"/>
                <a:gd name="T11" fmla="*/ 49 h 55"/>
                <a:gd name="T12" fmla="*/ 6 w 12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5">
                  <a:moveTo>
                    <a:pt x="6" y="55"/>
                  </a:moveTo>
                  <a:cubicBezTo>
                    <a:pt x="3" y="55"/>
                    <a:pt x="0" y="52"/>
                    <a:pt x="0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52"/>
                    <a:pt x="10" y="55"/>
                    <a:pt x="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1" name="Freeform 218">
              <a:extLst>
                <a:ext uri="{FF2B5EF4-FFF2-40B4-BE49-F238E27FC236}">
                  <a16:creationId xmlns:a16="http://schemas.microsoft.com/office/drawing/2014/main" id="{88248631-F1A5-4C93-9F1F-48983EA6B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6" y="770"/>
              <a:ext cx="73" cy="143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2 w 48"/>
                <a:gd name="T5" fmla="*/ 94 h 96"/>
                <a:gd name="T6" fmla="*/ 0 w 48"/>
                <a:gd name="T7" fmla="*/ 89 h 96"/>
                <a:gd name="T8" fmla="*/ 18 w 48"/>
                <a:gd name="T9" fmla="*/ 5 h 96"/>
                <a:gd name="T10" fmla="*/ 24 w 48"/>
                <a:gd name="T11" fmla="*/ 0 h 96"/>
                <a:gd name="T12" fmla="*/ 30 w 48"/>
                <a:gd name="T13" fmla="*/ 5 h 96"/>
                <a:gd name="T14" fmla="*/ 48 w 48"/>
                <a:gd name="T15" fmla="*/ 89 h 96"/>
                <a:gd name="T16" fmla="*/ 47 w 48"/>
                <a:gd name="T17" fmla="*/ 94 h 96"/>
                <a:gd name="T18" fmla="*/ 42 w 48"/>
                <a:gd name="T19" fmla="*/ 96 h 96"/>
                <a:gd name="T20" fmla="*/ 14 w 48"/>
                <a:gd name="T21" fmla="*/ 84 h 96"/>
                <a:gd name="T22" fmla="*/ 35 w 48"/>
                <a:gd name="T23" fmla="*/ 84 h 96"/>
                <a:gd name="T24" fmla="*/ 24 w 48"/>
                <a:gd name="T25" fmla="*/ 34 h 96"/>
                <a:gd name="T26" fmla="*/ 14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4" y="96"/>
                    <a:pt x="3" y="95"/>
                    <a:pt x="2" y="94"/>
                  </a:cubicBezTo>
                  <a:cubicBezTo>
                    <a:pt x="0" y="92"/>
                    <a:pt x="0" y="90"/>
                    <a:pt x="0" y="89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2"/>
                    <a:pt x="21" y="0"/>
                    <a:pt x="24" y="0"/>
                  </a:cubicBezTo>
                  <a:cubicBezTo>
                    <a:pt x="27" y="0"/>
                    <a:pt x="30" y="2"/>
                    <a:pt x="30" y="5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8" y="90"/>
                    <a:pt x="48" y="92"/>
                    <a:pt x="47" y="94"/>
                  </a:cubicBezTo>
                  <a:cubicBezTo>
                    <a:pt x="46" y="95"/>
                    <a:pt x="44" y="96"/>
                    <a:pt x="42" y="96"/>
                  </a:cubicBezTo>
                  <a:close/>
                  <a:moveTo>
                    <a:pt x="14" y="84"/>
                  </a:moveTo>
                  <a:cubicBezTo>
                    <a:pt x="35" y="84"/>
                    <a:pt x="35" y="84"/>
                    <a:pt x="35" y="84"/>
                  </a:cubicBezTo>
                  <a:cubicBezTo>
                    <a:pt x="24" y="34"/>
                    <a:pt x="24" y="34"/>
                    <a:pt x="24" y="34"/>
                  </a:cubicBezTo>
                  <a:lnTo>
                    <a:pt x="14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2" name="Freeform 219">
              <a:extLst>
                <a:ext uri="{FF2B5EF4-FFF2-40B4-BE49-F238E27FC236}">
                  <a16:creationId xmlns:a16="http://schemas.microsoft.com/office/drawing/2014/main" id="{24E232E3-4249-4F87-9336-18CDDA0DC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" y="943"/>
              <a:ext cx="213" cy="114"/>
            </a:xfrm>
            <a:custGeom>
              <a:avLst/>
              <a:gdLst>
                <a:gd name="T0" fmla="*/ 69 w 139"/>
                <a:gd name="T1" fmla="*/ 76 h 76"/>
                <a:gd name="T2" fmla="*/ 65 w 139"/>
                <a:gd name="T3" fmla="*/ 74 h 76"/>
                <a:gd name="T4" fmla="*/ 2 w 139"/>
                <a:gd name="T5" fmla="*/ 11 h 76"/>
                <a:gd name="T6" fmla="*/ 2 w 139"/>
                <a:gd name="T7" fmla="*/ 3 h 76"/>
                <a:gd name="T8" fmla="*/ 10 w 139"/>
                <a:gd name="T9" fmla="*/ 3 h 76"/>
                <a:gd name="T10" fmla="*/ 69 w 139"/>
                <a:gd name="T11" fmla="*/ 61 h 76"/>
                <a:gd name="T12" fmla="*/ 128 w 139"/>
                <a:gd name="T13" fmla="*/ 2 h 76"/>
                <a:gd name="T14" fmla="*/ 137 w 139"/>
                <a:gd name="T15" fmla="*/ 2 h 76"/>
                <a:gd name="T16" fmla="*/ 137 w 139"/>
                <a:gd name="T17" fmla="*/ 11 h 76"/>
                <a:gd name="T18" fmla="*/ 73 w 139"/>
                <a:gd name="T19" fmla="*/ 74 h 76"/>
                <a:gd name="T20" fmla="*/ 69 w 139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9" h="76">
                  <a:moveTo>
                    <a:pt x="69" y="76"/>
                  </a:moveTo>
                  <a:cubicBezTo>
                    <a:pt x="68" y="76"/>
                    <a:pt x="66" y="75"/>
                    <a:pt x="65" y="7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128" y="2"/>
                    <a:pt x="128" y="2"/>
                    <a:pt x="128" y="2"/>
                  </a:cubicBezTo>
                  <a:cubicBezTo>
                    <a:pt x="130" y="0"/>
                    <a:pt x="134" y="0"/>
                    <a:pt x="137" y="2"/>
                  </a:cubicBezTo>
                  <a:cubicBezTo>
                    <a:pt x="139" y="5"/>
                    <a:pt x="139" y="9"/>
                    <a:pt x="137" y="11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2" y="75"/>
                    <a:pt x="71" y="76"/>
                    <a:pt x="69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BCC758-BBC3-4704-A7CA-8FB7D08D7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auto">
          <a:xfrm rot="5400000">
            <a:off x="6705842" y="4063445"/>
            <a:ext cx="512064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01407E72-66F8-4775-B505-C12C797B15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4816" y="3137102"/>
            <a:ext cx="2196000" cy="1250950"/>
          </a:xfrm>
          <a:prstGeom prst="rect">
            <a:avLst/>
          </a:prstGeom>
        </p:spPr>
        <p:txBody>
          <a:bodyPr lIns="54000" tIns="36000" rIns="36000" bIns="36000"/>
          <a:lstStyle>
            <a:lvl1pPr marL="0" indent="0" algn="just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D4236A14-AFD0-429E-8B94-FD0C006552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4816" y="5297679"/>
            <a:ext cx="2196000" cy="477479"/>
          </a:xfrm>
          <a:prstGeom prst="rect">
            <a:avLst/>
          </a:prstGeom>
        </p:spPr>
        <p:txBody>
          <a:bodyPr lIns="54000" tIns="36000" rIns="36000" bIns="36000" numCol="2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Text Placeholder 98">
            <a:extLst>
              <a:ext uri="{FF2B5EF4-FFF2-40B4-BE49-F238E27FC236}">
                <a16:creationId xmlns:a16="http://schemas.microsoft.com/office/drawing/2014/main" id="{BF2A2800-9122-4AE6-8294-B506317011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849" y="420379"/>
            <a:ext cx="7174800" cy="491306"/>
          </a:xfrm>
          <a:prstGeom prst="rect">
            <a:avLst/>
          </a:prstGeom>
        </p:spPr>
        <p:txBody>
          <a:bodyPr lIns="0" tIns="61200" rIns="0" bIns="0" anchor="b" anchorCtr="0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pl-PL" sz="3549" b="1" kern="1200" dirty="0">
                <a:solidFill>
                  <a:schemeClr val="tx1"/>
                </a:solidFill>
                <a:latin typeface="Graphik Black" panose="020B0A03030202060203" pitchFamily="34" charset="-18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err="1"/>
              <a:t>Imię</a:t>
            </a:r>
            <a:r>
              <a:rPr lang="en-US"/>
              <a:t> i </a:t>
            </a:r>
            <a:r>
              <a:rPr lang="en-US" err="1"/>
              <a:t>nazwisko</a:t>
            </a:r>
            <a:endParaRPr lang="en-US"/>
          </a:p>
        </p:txBody>
      </p:sp>
      <p:sp>
        <p:nvSpPr>
          <p:cNvPr id="37" name="Text Placeholder 91">
            <a:extLst>
              <a:ext uri="{FF2B5EF4-FFF2-40B4-BE49-F238E27FC236}">
                <a16:creationId xmlns:a16="http://schemas.microsoft.com/office/drawing/2014/main" id="{F12B844A-0114-4CB3-942B-701FBFECFC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849" y="1030842"/>
            <a:ext cx="4140000" cy="399600"/>
          </a:xfrm>
          <a:prstGeom prst="rect">
            <a:avLst/>
          </a:prstGeom>
        </p:spPr>
        <p:txBody>
          <a:bodyPr lIns="0" tIns="0" rIns="72000" bIns="36000" anchor="b" anchorCtr="0"/>
          <a:lstStyle>
            <a:lvl1pPr marL="0" indent="0">
              <a:buNone/>
              <a:defRPr kumimoji="0" lang="pl-PL" sz="2000" b="0" i="0" u="none" strike="noStrike" kern="1200" cap="none" spc="0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Sectra Fine Rg" panose="00000500000000000000" pitchFamily="50" charset="0"/>
                <a:ea typeface="Roboto Medium" panose="02000000000000000000" pitchFamily="2" charset="0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2286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77E53257-0C7A-4574-B279-5D0B0F4DD728}"/>
              </a:ext>
            </a:extLst>
          </p:cNvPr>
          <p:cNvSpPr txBox="1">
            <a:spLocks/>
          </p:cNvSpPr>
          <p:nvPr userDrawn="1"/>
        </p:nvSpPr>
        <p:spPr>
          <a:xfrm>
            <a:off x="2880849" y="1556713"/>
            <a:ext cx="4773737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6000" rIns="36000" bIns="36000" rtlCol="0" anchor="ctr" anchorCtr="0">
            <a:no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>
                <a:solidFill>
                  <a:srgbClr val="7500C0"/>
                </a:solidFill>
                <a:latin typeface="Graphik"/>
              </a:rPr>
              <a:t>Relevant project experience</a:t>
            </a:r>
          </a:p>
        </p:txBody>
      </p:sp>
      <p:sp>
        <p:nvSpPr>
          <p:cNvPr id="39" name="Picture Placeholder 8">
            <a:extLst>
              <a:ext uri="{FF2B5EF4-FFF2-40B4-BE49-F238E27FC236}">
                <a16:creationId xmlns:a16="http://schemas.microsoft.com/office/drawing/2014/main" id="{D7CAE0B1-7F50-46CB-A1EB-0C1DB621F2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2628000" cy="2592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pl-P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F2679A-F6D2-4AC0-8A88-3A0DE38E255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208" y="1907471"/>
            <a:ext cx="2664000" cy="1106487"/>
          </a:xfrm>
        </p:spPr>
        <p:txBody>
          <a:bodyPr lIns="54000" tIns="36000" rIns="36000" bIns="36000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11665D1-E656-413D-8788-0176DAD132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32107" y="1861782"/>
            <a:ext cx="6282000" cy="4488298"/>
          </a:xfrm>
        </p:spPr>
        <p:txBody>
          <a:bodyPr lIns="54000" tIns="36000" rIns="36000" bIns="36000" numCol="2" spcCol="25200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861025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ccenture Greater Than symbol in white">
            <a:extLst>
              <a:ext uri="{FF2B5EF4-FFF2-40B4-BE49-F238E27FC236}">
                <a16:creationId xmlns:a16="http://schemas.microsoft.com/office/drawing/2014/main" id="{9DEA0E7F-4F0B-4028-9DCD-1D5D599C5A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A100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1783987" y="6522601"/>
            <a:ext cx="191087" cy="2023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45D549-9B0D-43BF-B4D5-F60832335E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85" r="30397" b="31908"/>
          <a:stretch/>
        </p:blipFill>
        <p:spPr bwMode="invGray">
          <a:xfrm>
            <a:off x="1802" y="2620706"/>
            <a:ext cx="2640814" cy="4237293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B1727A3-A4C0-44D9-9D35-05D3DD38FFD6}"/>
              </a:ext>
            </a:extLst>
          </p:cNvPr>
          <p:cNvSpPr txBox="1">
            <a:spLocks/>
          </p:cNvSpPr>
          <p:nvPr userDrawn="1"/>
        </p:nvSpPr>
        <p:spPr>
          <a:xfrm>
            <a:off x="407840" y="2754154"/>
            <a:ext cx="219679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Roboto Medium" panose="02000000000000000000" pitchFamily="2" charset="0"/>
                <a:cs typeface="+mn-cs"/>
              </a:rPr>
              <a:t>About m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E828E6-CC30-4950-97D5-B5ED59078F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167" y="2801322"/>
            <a:ext cx="182880" cy="200133"/>
            <a:chOff x="873570" y="2923982"/>
            <a:chExt cx="308751" cy="337878"/>
          </a:xfrm>
        </p:grpSpPr>
        <p:sp>
          <p:nvSpPr>
            <p:cNvPr id="12" name="Freeform 165">
              <a:extLst>
                <a:ext uri="{FF2B5EF4-FFF2-40B4-BE49-F238E27FC236}">
                  <a16:creationId xmlns:a16="http://schemas.microsoft.com/office/drawing/2014/main" id="{0DB34C81-406B-4E6D-A240-8BB1827CE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4058" y="2923982"/>
              <a:ext cx="207776" cy="201951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  <p:sp>
          <p:nvSpPr>
            <p:cNvPr id="13" name="Freeform 166">
              <a:extLst>
                <a:ext uri="{FF2B5EF4-FFF2-40B4-BE49-F238E27FC236}">
                  <a16:creationId xmlns:a16="http://schemas.microsoft.com/office/drawing/2014/main" id="{219B28DA-9A70-467F-B269-500F4B753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570" y="3092921"/>
              <a:ext cx="308751" cy="16893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2 w 108"/>
                <a:gd name="T13" fmla="*/ 48 h 60"/>
                <a:gd name="T14" fmla="*/ 95 w 108"/>
                <a:gd name="T15" fmla="*/ 48 h 60"/>
                <a:gd name="T16" fmla="*/ 54 w 108"/>
                <a:gd name="T17" fmla="*/ 12 h 60"/>
                <a:gd name="T18" fmla="*/ 12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7"/>
                    <a:pt x="105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5" y="48"/>
                    <a:pt x="95" y="48"/>
                    <a:pt x="95" y="48"/>
                  </a:cubicBezTo>
                  <a:cubicBezTo>
                    <a:pt x="93" y="27"/>
                    <a:pt x="75" y="12"/>
                    <a:pt x="54" y="12"/>
                  </a:cubicBezTo>
                  <a:cubicBezTo>
                    <a:pt x="33" y="12"/>
                    <a:pt x="15" y="27"/>
                    <a:pt x="12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</p:grpSp>
      <p:grpSp>
        <p:nvGrpSpPr>
          <p:cNvPr id="14" name="Group 169">
            <a:extLst>
              <a:ext uri="{FF2B5EF4-FFF2-40B4-BE49-F238E27FC236}">
                <a16:creationId xmlns:a16="http://schemas.microsoft.com/office/drawing/2014/main" id="{CC4E72F0-3299-4EFE-B018-3B85E693F96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5167" y="4931606"/>
            <a:ext cx="274320" cy="283018"/>
            <a:chOff x="2605" y="3204"/>
            <a:chExt cx="410" cy="423"/>
          </a:xfrm>
          <a:solidFill>
            <a:srgbClr val="FFFFFF"/>
          </a:solidFill>
        </p:grpSpPr>
        <p:sp>
          <p:nvSpPr>
            <p:cNvPr id="15" name="Freeform 170">
              <a:extLst>
                <a:ext uri="{FF2B5EF4-FFF2-40B4-BE49-F238E27FC236}">
                  <a16:creationId xmlns:a16="http://schemas.microsoft.com/office/drawing/2014/main" id="{E08DD1DF-F9B9-4EA6-9B1B-6CF735874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" y="3378"/>
              <a:ext cx="214" cy="249"/>
            </a:xfrm>
            <a:custGeom>
              <a:avLst/>
              <a:gdLst>
                <a:gd name="T0" fmla="*/ 66 w 144"/>
                <a:gd name="T1" fmla="*/ 168 h 168"/>
                <a:gd name="T2" fmla="*/ 63 w 144"/>
                <a:gd name="T3" fmla="*/ 167 h 168"/>
                <a:gd name="T4" fmla="*/ 3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3 w 144"/>
                <a:gd name="T11" fmla="*/ 40 h 168"/>
                <a:gd name="T12" fmla="*/ 63 w 144"/>
                <a:gd name="T13" fmla="*/ 1 h 168"/>
                <a:gd name="T14" fmla="*/ 69 w 144"/>
                <a:gd name="T15" fmla="*/ 1 h 168"/>
                <a:gd name="T16" fmla="*/ 141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1 w 144"/>
                <a:gd name="T23" fmla="*/ 128 h 168"/>
                <a:gd name="T24" fmla="*/ 69 w 144"/>
                <a:gd name="T25" fmla="*/ 167 h 168"/>
                <a:gd name="T26" fmla="*/ 66 w 144"/>
                <a:gd name="T27" fmla="*/ 168 h 168"/>
                <a:gd name="T28" fmla="*/ 12 w 144"/>
                <a:gd name="T29" fmla="*/ 120 h 168"/>
                <a:gd name="T30" fmla="*/ 67 w 144"/>
                <a:gd name="T31" fmla="*/ 155 h 168"/>
                <a:gd name="T32" fmla="*/ 132 w 144"/>
                <a:gd name="T33" fmla="*/ 120 h 168"/>
                <a:gd name="T34" fmla="*/ 132 w 144"/>
                <a:gd name="T35" fmla="*/ 49 h 168"/>
                <a:gd name="T36" fmla="*/ 67 w 144"/>
                <a:gd name="T37" fmla="*/ 13 h 168"/>
                <a:gd name="T38" fmla="*/ 12 w 144"/>
                <a:gd name="T39" fmla="*/ 48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66" y="168"/>
                  </a:moveTo>
                  <a:cubicBezTo>
                    <a:pt x="65" y="168"/>
                    <a:pt x="64" y="168"/>
                    <a:pt x="63" y="167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1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1" y="41"/>
                    <a:pt x="3" y="4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5" y="0"/>
                    <a:pt x="67" y="0"/>
                    <a:pt x="69" y="1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1" y="128"/>
                  </a:cubicBezTo>
                  <a:cubicBezTo>
                    <a:pt x="69" y="167"/>
                    <a:pt x="69" y="167"/>
                    <a:pt x="69" y="167"/>
                  </a:cubicBezTo>
                  <a:cubicBezTo>
                    <a:pt x="68" y="168"/>
                    <a:pt x="67" y="168"/>
                    <a:pt x="66" y="168"/>
                  </a:cubicBezTo>
                  <a:close/>
                  <a:moveTo>
                    <a:pt x="12" y="120"/>
                  </a:moveTo>
                  <a:cubicBezTo>
                    <a:pt x="67" y="155"/>
                    <a:pt x="67" y="155"/>
                    <a:pt x="67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12" y="48"/>
                    <a:pt x="12" y="48"/>
                    <a:pt x="12" y="48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6" name="Freeform 171">
              <a:extLst>
                <a:ext uri="{FF2B5EF4-FFF2-40B4-BE49-F238E27FC236}">
                  <a16:creationId xmlns:a16="http://schemas.microsoft.com/office/drawing/2014/main" id="{33EE6036-27E8-4C43-A1FD-338A7402E5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" y="3378"/>
              <a:ext cx="214" cy="249"/>
            </a:xfrm>
            <a:custGeom>
              <a:avLst/>
              <a:gdLst>
                <a:gd name="T0" fmla="*/ 78 w 144"/>
                <a:gd name="T1" fmla="*/ 168 h 168"/>
                <a:gd name="T2" fmla="*/ 76 w 144"/>
                <a:gd name="T3" fmla="*/ 167 h 168"/>
                <a:gd name="T4" fmla="*/ 4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4 w 144"/>
                <a:gd name="T11" fmla="*/ 40 h 168"/>
                <a:gd name="T12" fmla="*/ 76 w 144"/>
                <a:gd name="T13" fmla="*/ 1 h 168"/>
                <a:gd name="T14" fmla="*/ 82 w 144"/>
                <a:gd name="T15" fmla="*/ 1 h 168"/>
                <a:gd name="T16" fmla="*/ 142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2 w 144"/>
                <a:gd name="T23" fmla="*/ 128 h 168"/>
                <a:gd name="T24" fmla="*/ 82 w 144"/>
                <a:gd name="T25" fmla="*/ 167 h 168"/>
                <a:gd name="T26" fmla="*/ 78 w 144"/>
                <a:gd name="T27" fmla="*/ 168 h 168"/>
                <a:gd name="T28" fmla="*/ 12 w 144"/>
                <a:gd name="T29" fmla="*/ 120 h 168"/>
                <a:gd name="T30" fmla="*/ 78 w 144"/>
                <a:gd name="T31" fmla="*/ 155 h 168"/>
                <a:gd name="T32" fmla="*/ 132 w 144"/>
                <a:gd name="T33" fmla="*/ 120 h 168"/>
                <a:gd name="T34" fmla="*/ 132 w 144"/>
                <a:gd name="T35" fmla="*/ 48 h 168"/>
                <a:gd name="T36" fmla="*/ 78 w 144"/>
                <a:gd name="T37" fmla="*/ 13 h 168"/>
                <a:gd name="T38" fmla="*/ 12 w 144"/>
                <a:gd name="T39" fmla="*/ 49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80" y="0"/>
                    <a:pt x="82" y="1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2" y="128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1" y="168"/>
                    <a:pt x="80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7" name="Freeform 172">
              <a:extLst>
                <a:ext uri="{FF2B5EF4-FFF2-40B4-BE49-F238E27FC236}">
                  <a16:creationId xmlns:a16="http://schemas.microsoft.com/office/drawing/2014/main" id="{2AAA9EE7-A458-4D41-8F96-C74AE9DC12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4" y="3204"/>
              <a:ext cx="232" cy="250"/>
            </a:xfrm>
            <a:custGeom>
              <a:avLst/>
              <a:gdLst>
                <a:gd name="T0" fmla="*/ 78 w 156"/>
                <a:gd name="T1" fmla="*/ 168 h 168"/>
                <a:gd name="T2" fmla="*/ 76 w 156"/>
                <a:gd name="T3" fmla="*/ 167 h 168"/>
                <a:gd name="T4" fmla="*/ 4 w 156"/>
                <a:gd name="T5" fmla="*/ 128 h 168"/>
                <a:gd name="T6" fmla="*/ 0 w 156"/>
                <a:gd name="T7" fmla="*/ 123 h 168"/>
                <a:gd name="T8" fmla="*/ 0 w 156"/>
                <a:gd name="T9" fmla="*/ 45 h 168"/>
                <a:gd name="T10" fmla="*/ 4 w 156"/>
                <a:gd name="T11" fmla="*/ 40 h 168"/>
                <a:gd name="T12" fmla="*/ 76 w 156"/>
                <a:gd name="T13" fmla="*/ 1 h 168"/>
                <a:gd name="T14" fmla="*/ 81 w 156"/>
                <a:gd name="T15" fmla="*/ 1 h 168"/>
                <a:gd name="T16" fmla="*/ 153 w 156"/>
                <a:gd name="T17" fmla="*/ 40 h 168"/>
                <a:gd name="T18" fmla="*/ 156 w 156"/>
                <a:gd name="T19" fmla="*/ 45 h 168"/>
                <a:gd name="T20" fmla="*/ 156 w 156"/>
                <a:gd name="T21" fmla="*/ 123 h 168"/>
                <a:gd name="T22" fmla="*/ 153 w 156"/>
                <a:gd name="T23" fmla="*/ 128 h 168"/>
                <a:gd name="T24" fmla="*/ 81 w 156"/>
                <a:gd name="T25" fmla="*/ 167 h 168"/>
                <a:gd name="T26" fmla="*/ 78 w 156"/>
                <a:gd name="T27" fmla="*/ 168 h 168"/>
                <a:gd name="T28" fmla="*/ 12 w 156"/>
                <a:gd name="T29" fmla="*/ 120 h 168"/>
                <a:gd name="T30" fmla="*/ 78 w 156"/>
                <a:gd name="T31" fmla="*/ 155 h 168"/>
                <a:gd name="T32" fmla="*/ 144 w 156"/>
                <a:gd name="T33" fmla="*/ 120 h 168"/>
                <a:gd name="T34" fmla="*/ 144 w 156"/>
                <a:gd name="T35" fmla="*/ 49 h 168"/>
                <a:gd name="T36" fmla="*/ 78 w 156"/>
                <a:gd name="T37" fmla="*/ 13 h 168"/>
                <a:gd name="T38" fmla="*/ 12 w 156"/>
                <a:gd name="T39" fmla="*/ 49 h 168"/>
                <a:gd name="T40" fmla="*/ 12 w 156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6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80" y="0"/>
                    <a:pt x="81" y="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5" y="41"/>
                    <a:pt x="156" y="43"/>
                    <a:pt x="156" y="45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5"/>
                    <a:pt x="155" y="127"/>
                    <a:pt x="153" y="12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80" y="168"/>
                    <a:pt x="79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49"/>
                    <a:pt x="144" y="49"/>
                    <a:pt x="144" y="4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D1CA538A-F97A-485F-BA02-99CBBF3BE68C}"/>
              </a:ext>
            </a:extLst>
          </p:cNvPr>
          <p:cNvSpPr txBox="1">
            <a:spLocks/>
          </p:cNvSpPr>
          <p:nvPr userDrawn="1"/>
        </p:nvSpPr>
        <p:spPr>
          <a:xfrm>
            <a:off x="407840" y="4916970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>
                <a:solidFill>
                  <a:srgbClr val="FFFFFF"/>
                </a:solidFill>
                <a:latin typeface="Graphik"/>
              </a:rPr>
              <a:t>Industry experience</a:t>
            </a:r>
          </a:p>
        </p:txBody>
      </p:sp>
      <p:sp>
        <p:nvSpPr>
          <p:cNvPr id="19" name="Rechteck 5">
            <a:extLst>
              <a:ext uri="{FF2B5EF4-FFF2-40B4-BE49-F238E27FC236}">
                <a16:creationId xmlns:a16="http://schemas.microsoft.com/office/drawing/2014/main" id="{D1E7838B-6134-46EE-8E23-4302A047D69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2642616" y="1019706"/>
            <a:ext cx="9542241" cy="426864"/>
          </a:xfrm>
          <a:prstGeom prst="rect">
            <a:avLst/>
          </a:prstGeom>
          <a:pattFill prst="ltUpDiag">
            <a:fgClr>
              <a:srgbClr val="FFFFFF"/>
            </a:fgClr>
            <a:bgClr>
              <a:srgbClr val="E8ECEC"/>
            </a:bgClr>
          </a:patt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7759A8-84D9-4E83-A2DB-95B65584119E}"/>
              </a:ext>
            </a:extLst>
          </p:cNvPr>
          <p:cNvSpPr txBox="1"/>
          <p:nvPr userDrawn="1"/>
        </p:nvSpPr>
        <p:spPr>
          <a:xfrm>
            <a:off x="7970984" y="575354"/>
            <a:ext cx="4068000" cy="33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228600">
              <a:spcAft>
                <a:spcPts val="1200"/>
              </a:spcAft>
            </a:pPr>
            <a:r>
              <a:rPr lang="en-US" sz="2000">
                <a:solidFill>
                  <a:srgbClr val="000000"/>
                </a:solidFill>
                <a:latin typeface="Graphik"/>
              </a:rPr>
              <a:t>Accenture 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Data&amp;</a:t>
            </a:r>
            <a:r>
              <a:rPr lang="en-US" sz="2000">
                <a:solidFill>
                  <a:srgbClr val="000000"/>
                </a:solidFill>
                <a:latin typeface="Graphik"/>
              </a:rPr>
              <a:t>A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I</a:t>
            </a:r>
            <a:endParaRPr lang="en-US" sz="2000">
              <a:solidFill>
                <a:srgbClr val="000000"/>
              </a:solidFill>
              <a:latin typeface="Graphik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2D55710-BEDC-4028-93A6-EA9177018FF7}"/>
              </a:ext>
            </a:extLst>
          </p:cNvPr>
          <p:cNvSpPr txBox="1">
            <a:spLocks/>
          </p:cNvSpPr>
          <p:nvPr userDrawn="1"/>
        </p:nvSpPr>
        <p:spPr>
          <a:xfrm>
            <a:off x="9682733" y="1556713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noProof="0">
                <a:solidFill>
                  <a:srgbClr val="7500C0"/>
                </a:solidFill>
                <a:latin typeface="Graphik"/>
              </a:rPr>
              <a:t>Education</a:t>
            </a:r>
          </a:p>
        </p:txBody>
      </p:sp>
      <p:grpSp>
        <p:nvGrpSpPr>
          <p:cNvPr id="22" name="Group 209">
            <a:extLst>
              <a:ext uri="{FF2B5EF4-FFF2-40B4-BE49-F238E27FC236}">
                <a16:creationId xmlns:a16="http://schemas.microsoft.com/office/drawing/2014/main" id="{BED3242A-6E79-48C6-A851-271F22DD82B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18492" y="1614364"/>
            <a:ext cx="274320" cy="268099"/>
            <a:chOff x="5687" y="662"/>
            <a:chExt cx="441" cy="431"/>
          </a:xfrm>
          <a:solidFill>
            <a:srgbClr val="7500C0"/>
          </a:solidFill>
        </p:grpSpPr>
        <p:sp>
          <p:nvSpPr>
            <p:cNvPr id="23" name="Freeform 210">
              <a:extLst>
                <a:ext uri="{FF2B5EF4-FFF2-40B4-BE49-F238E27FC236}">
                  <a16:creationId xmlns:a16="http://schemas.microsoft.com/office/drawing/2014/main" id="{C036DE7B-1825-4016-A4A1-2F39D4212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7" y="930"/>
              <a:ext cx="441" cy="163"/>
            </a:xfrm>
            <a:custGeom>
              <a:avLst/>
              <a:gdLst>
                <a:gd name="T0" fmla="*/ 282 w 288"/>
                <a:gd name="T1" fmla="*/ 109 h 109"/>
                <a:gd name="T2" fmla="*/ 6 w 288"/>
                <a:gd name="T3" fmla="*/ 109 h 109"/>
                <a:gd name="T4" fmla="*/ 0 w 288"/>
                <a:gd name="T5" fmla="*/ 103 h 109"/>
                <a:gd name="T6" fmla="*/ 0 w 288"/>
                <a:gd name="T7" fmla="*/ 73 h 109"/>
                <a:gd name="T8" fmla="*/ 35 w 288"/>
                <a:gd name="T9" fmla="*/ 22 h 109"/>
                <a:gd name="T10" fmla="*/ 36 w 288"/>
                <a:gd name="T11" fmla="*/ 22 h 109"/>
                <a:gd name="T12" fmla="*/ 112 w 288"/>
                <a:gd name="T13" fmla="*/ 1 h 109"/>
                <a:gd name="T14" fmla="*/ 119 w 288"/>
                <a:gd name="T15" fmla="*/ 5 h 109"/>
                <a:gd name="T16" fmla="*/ 115 w 288"/>
                <a:gd name="T17" fmla="*/ 13 h 109"/>
                <a:gd name="T18" fmla="*/ 39 w 288"/>
                <a:gd name="T19" fmla="*/ 34 h 109"/>
                <a:gd name="T20" fmla="*/ 12 w 288"/>
                <a:gd name="T21" fmla="*/ 73 h 109"/>
                <a:gd name="T22" fmla="*/ 12 w 288"/>
                <a:gd name="T23" fmla="*/ 97 h 109"/>
                <a:gd name="T24" fmla="*/ 276 w 288"/>
                <a:gd name="T25" fmla="*/ 97 h 109"/>
                <a:gd name="T26" fmla="*/ 276 w 288"/>
                <a:gd name="T27" fmla="*/ 73 h 109"/>
                <a:gd name="T28" fmla="*/ 249 w 288"/>
                <a:gd name="T29" fmla="*/ 34 h 109"/>
                <a:gd name="T30" fmla="*/ 173 w 288"/>
                <a:gd name="T31" fmla="*/ 13 h 109"/>
                <a:gd name="T32" fmla="*/ 169 w 288"/>
                <a:gd name="T33" fmla="*/ 5 h 109"/>
                <a:gd name="T34" fmla="*/ 176 w 288"/>
                <a:gd name="T35" fmla="*/ 1 h 109"/>
                <a:gd name="T36" fmla="*/ 253 w 288"/>
                <a:gd name="T37" fmla="*/ 22 h 109"/>
                <a:gd name="T38" fmla="*/ 253 w 288"/>
                <a:gd name="T39" fmla="*/ 22 h 109"/>
                <a:gd name="T40" fmla="*/ 288 w 288"/>
                <a:gd name="T41" fmla="*/ 73 h 109"/>
                <a:gd name="T42" fmla="*/ 288 w 288"/>
                <a:gd name="T43" fmla="*/ 103 h 109"/>
                <a:gd name="T44" fmla="*/ 282 w 288"/>
                <a:gd name="T4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8" h="109">
                  <a:moveTo>
                    <a:pt x="282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14" y="30"/>
                    <a:pt x="35" y="22"/>
                  </a:cubicBezTo>
                  <a:cubicBezTo>
                    <a:pt x="35" y="22"/>
                    <a:pt x="36" y="22"/>
                    <a:pt x="36" y="22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5" y="0"/>
                    <a:pt x="118" y="2"/>
                    <a:pt x="119" y="5"/>
                  </a:cubicBezTo>
                  <a:cubicBezTo>
                    <a:pt x="120" y="8"/>
                    <a:pt x="118" y="12"/>
                    <a:pt x="115" y="1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23" y="40"/>
                    <a:pt x="12" y="56"/>
                    <a:pt x="12" y="7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276" y="97"/>
                    <a:pt x="276" y="97"/>
                    <a:pt x="276" y="97"/>
                  </a:cubicBezTo>
                  <a:cubicBezTo>
                    <a:pt x="276" y="73"/>
                    <a:pt x="276" y="73"/>
                    <a:pt x="276" y="73"/>
                  </a:cubicBezTo>
                  <a:cubicBezTo>
                    <a:pt x="276" y="56"/>
                    <a:pt x="265" y="40"/>
                    <a:pt x="249" y="3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0" y="12"/>
                    <a:pt x="168" y="8"/>
                    <a:pt x="169" y="5"/>
                  </a:cubicBezTo>
                  <a:cubicBezTo>
                    <a:pt x="170" y="2"/>
                    <a:pt x="173" y="0"/>
                    <a:pt x="176" y="1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74" y="30"/>
                    <a:pt x="288" y="50"/>
                    <a:pt x="288" y="73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8" y="106"/>
                    <a:pt x="286" y="109"/>
                    <a:pt x="282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4" name="Freeform 211">
              <a:extLst>
                <a:ext uri="{FF2B5EF4-FFF2-40B4-BE49-F238E27FC236}">
                  <a16:creationId xmlns:a16="http://schemas.microsoft.com/office/drawing/2014/main" id="{E6793C43-D202-4501-849F-0E17B8AA4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3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  <a:gd name="T38" fmla="*/ 12 w 36"/>
                <a:gd name="T3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5" name="Freeform 212">
              <a:extLst>
                <a:ext uri="{FF2B5EF4-FFF2-40B4-BE49-F238E27FC236}">
                  <a16:creationId xmlns:a16="http://schemas.microsoft.com/office/drawing/2014/main" id="{F3A778EF-8185-445A-B5B9-107C127B8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6" name="Freeform 213">
              <a:extLst>
                <a:ext uri="{FF2B5EF4-FFF2-40B4-BE49-F238E27FC236}">
                  <a16:creationId xmlns:a16="http://schemas.microsoft.com/office/drawing/2014/main" id="{743A6F23-D66B-418F-B749-B29DF5228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" y="761"/>
              <a:ext cx="130" cy="206"/>
            </a:xfrm>
            <a:custGeom>
              <a:avLst/>
              <a:gdLst>
                <a:gd name="T0" fmla="*/ 79 w 85"/>
                <a:gd name="T1" fmla="*/ 138 h 138"/>
                <a:gd name="T2" fmla="*/ 13 w 85"/>
                <a:gd name="T3" fmla="*/ 77 h 138"/>
                <a:gd name="T4" fmla="*/ 0 w 85"/>
                <a:gd name="T5" fmla="*/ 54 h 138"/>
                <a:gd name="T6" fmla="*/ 13 w 85"/>
                <a:gd name="T7" fmla="*/ 31 h 138"/>
                <a:gd name="T8" fmla="*/ 13 w 85"/>
                <a:gd name="T9" fmla="*/ 6 h 138"/>
                <a:gd name="T10" fmla="*/ 19 w 85"/>
                <a:gd name="T11" fmla="*/ 0 h 138"/>
                <a:gd name="T12" fmla="*/ 25 w 85"/>
                <a:gd name="T13" fmla="*/ 6 h 138"/>
                <a:gd name="T14" fmla="*/ 25 w 85"/>
                <a:gd name="T15" fmla="*/ 36 h 138"/>
                <a:gd name="T16" fmla="*/ 19 w 85"/>
                <a:gd name="T17" fmla="*/ 42 h 138"/>
                <a:gd name="T18" fmla="*/ 12 w 85"/>
                <a:gd name="T19" fmla="*/ 54 h 138"/>
                <a:gd name="T20" fmla="*/ 19 w 85"/>
                <a:gd name="T21" fmla="*/ 66 h 138"/>
                <a:gd name="T22" fmla="*/ 25 w 85"/>
                <a:gd name="T23" fmla="*/ 72 h 138"/>
                <a:gd name="T24" fmla="*/ 79 w 85"/>
                <a:gd name="T25" fmla="*/ 126 h 138"/>
                <a:gd name="T26" fmla="*/ 85 w 85"/>
                <a:gd name="T27" fmla="*/ 132 h 138"/>
                <a:gd name="T28" fmla="*/ 79 w 85"/>
                <a:gd name="T2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8">
                  <a:moveTo>
                    <a:pt x="79" y="138"/>
                  </a:moveTo>
                  <a:cubicBezTo>
                    <a:pt x="60" y="138"/>
                    <a:pt x="17" y="114"/>
                    <a:pt x="13" y="77"/>
                  </a:cubicBezTo>
                  <a:cubicBezTo>
                    <a:pt x="5" y="74"/>
                    <a:pt x="0" y="65"/>
                    <a:pt x="0" y="54"/>
                  </a:cubicBezTo>
                  <a:cubicBezTo>
                    <a:pt x="0" y="43"/>
                    <a:pt x="5" y="34"/>
                    <a:pt x="13" y="3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"/>
                    <a:pt x="16" y="0"/>
                    <a:pt x="19" y="0"/>
                  </a:cubicBezTo>
                  <a:cubicBezTo>
                    <a:pt x="23" y="0"/>
                    <a:pt x="25" y="3"/>
                    <a:pt x="25" y="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9"/>
                    <a:pt x="23" y="42"/>
                    <a:pt x="19" y="42"/>
                  </a:cubicBezTo>
                  <a:cubicBezTo>
                    <a:pt x="13" y="42"/>
                    <a:pt x="12" y="50"/>
                    <a:pt x="12" y="54"/>
                  </a:cubicBezTo>
                  <a:cubicBezTo>
                    <a:pt x="12" y="58"/>
                    <a:pt x="13" y="66"/>
                    <a:pt x="19" y="66"/>
                  </a:cubicBezTo>
                  <a:cubicBezTo>
                    <a:pt x="23" y="66"/>
                    <a:pt x="25" y="69"/>
                    <a:pt x="25" y="72"/>
                  </a:cubicBezTo>
                  <a:cubicBezTo>
                    <a:pt x="25" y="103"/>
                    <a:pt x="63" y="126"/>
                    <a:pt x="79" y="126"/>
                  </a:cubicBezTo>
                  <a:cubicBezTo>
                    <a:pt x="83" y="126"/>
                    <a:pt x="85" y="129"/>
                    <a:pt x="85" y="132"/>
                  </a:cubicBezTo>
                  <a:cubicBezTo>
                    <a:pt x="85" y="135"/>
                    <a:pt x="83" y="138"/>
                    <a:pt x="79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7" name="Freeform 214">
              <a:extLst>
                <a:ext uri="{FF2B5EF4-FFF2-40B4-BE49-F238E27FC236}">
                  <a16:creationId xmlns:a16="http://schemas.microsoft.com/office/drawing/2014/main" id="{9DEB99C5-9375-45D6-9458-2191255BE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8" y="761"/>
              <a:ext cx="132" cy="206"/>
            </a:xfrm>
            <a:custGeom>
              <a:avLst/>
              <a:gdLst>
                <a:gd name="T0" fmla="*/ 6 w 86"/>
                <a:gd name="T1" fmla="*/ 138 h 138"/>
                <a:gd name="T2" fmla="*/ 0 w 86"/>
                <a:gd name="T3" fmla="*/ 132 h 138"/>
                <a:gd name="T4" fmla="*/ 6 w 86"/>
                <a:gd name="T5" fmla="*/ 126 h 138"/>
                <a:gd name="T6" fmla="*/ 60 w 86"/>
                <a:gd name="T7" fmla="*/ 72 h 138"/>
                <a:gd name="T8" fmla="*/ 66 w 86"/>
                <a:gd name="T9" fmla="*/ 66 h 138"/>
                <a:gd name="T10" fmla="*/ 71 w 86"/>
                <a:gd name="T11" fmla="*/ 63 h 138"/>
                <a:gd name="T12" fmla="*/ 74 w 86"/>
                <a:gd name="T13" fmla="*/ 54 h 138"/>
                <a:gd name="T14" fmla="*/ 66 w 86"/>
                <a:gd name="T15" fmla="*/ 42 h 138"/>
                <a:gd name="T16" fmla="*/ 60 w 86"/>
                <a:gd name="T17" fmla="*/ 36 h 138"/>
                <a:gd name="T18" fmla="*/ 60 w 86"/>
                <a:gd name="T19" fmla="*/ 6 h 138"/>
                <a:gd name="T20" fmla="*/ 66 w 86"/>
                <a:gd name="T21" fmla="*/ 0 h 138"/>
                <a:gd name="T22" fmla="*/ 72 w 86"/>
                <a:gd name="T23" fmla="*/ 6 h 138"/>
                <a:gd name="T24" fmla="*/ 72 w 86"/>
                <a:gd name="T25" fmla="*/ 31 h 138"/>
                <a:gd name="T26" fmla="*/ 86 w 86"/>
                <a:gd name="T27" fmla="*/ 54 h 138"/>
                <a:gd name="T28" fmla="*/ 81 w 86"/>
                <a:gd name="T29" fmla="*/ 70 h 138"/>
                <a:gd name="T30" fmla="*/ 72 w 86"/>
                <a:gd name="T31" fmla="*/ 77 h 138"/>
                <a:gd name="T32" fmla="*/ 6 w 86"/>
                <a:gd name="T33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138">
                  <a:moveTo>
                    <a:pt x="6" y="138"/>
                  </a:moveTo>
                  <a:cubicBezTo>
                    <a:pt x="3" y="138"/>
                    <a:pt x="0" y="135"/>
                    <a:pt x="0" y="132"/>
                  </a:cubicBezTo>
                  <a:cubicBezTo>
                    <a:pt x="0" y="129"/>
                    <a:pt x="3" y="126"/>
                    <a:pt x="6" y="126"/>
                  </a:cubicBezTo>
                  <a:cubicBezTo>
                    <a:pt x="22" y="126"/>
                    <a:pt x="60" y="103"/>
                    <a:pt x="60" y="72"/>
                  </a:cubicBezTo>
                  <a:cubicBezTo>
                    <a:pt x="60" y="69"/>
                    <a:pt x="63" y="66"/>
                    <a:pt x="66" y="66"/>
                  </a:cubicBezTo>
                  <a:cubicBezTo>
                    <a:pt x="68" y="66"/>
                    <a:pt x="70" y="66"/>
                    <a:pt x="71" y="63"/>
                  </a:cubicBezTo>
                  <a:cubicBezTo>
                    <a:pt x="73" y="61"/>
                    <a:pt x="74" y="57"/>
                    <a:pt x="74" y="54"/>
                  </a:cubicBezTo>
                  <a:cubicBezTo>
                    <a:pt x="74" y="50"/>
                    <a:pt x="72" y="42"/>
                    <a:pt x="66" y="42"/>
                  </a:cubicBezTo>
                  <a:cubicBezTo>
                    <a:pt x="63" y="42"/>
                    <a:pt x="60" y="39"/>
                    <a:pt x="60" y="3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80" y="34"/>
                    <a:pt x="86" y="43"/>
                    <a:pt x="86" y="54"/>
                  </a:cubicBezTo>
                  <a:cubicBezTo>
                    <a:pt x="86" y="60"/>
                    <a:pt x="84" y="65"/>
                    <a:pt x="81" y="70"/>
                  </a:cubicBezTo>
                  <a:cubicBezTo>
                    <a:pt x="79" y="73"/>
                    <a:pt x="76" y="76"/>
                    <a:pt x="72" y="77"/>
                  </a:cubicBezTo>
                  <a:cubicBezTo>
                    <a:pt x="68" y="114"/>
                    <a:pt x="25" y="138"/>
                    <a:pt x="6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8" name="Freeform 215">
              <a:extLst>
                <a:ext uri="{FF2B5EF4-FFF2-40B4-BE49-F238E27FC236}">
                  <a16:creationId xmlns:a16="http://schemas.microsoft.com/office/drawing/2014/main" id="{EF26BA72-EEA7-433D-B2D5-790D0B436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7" y="662"/>
              <a:ext cx="441" cy="90"/>
            </a:xfrm>
            <a:custGeom>
              <a:avLst/>
              <a:gdLst>
                <a:gd name="T0" fmla="*/ 144 w 288"/>
                <a:gd name="T1" fmla="*/ 60 h 60"/>
                <a:gd name="T2" fmla="*/ 143 w 288"/>
                <a:gd name="T3" fmla="*/ 60 h 60"/>
                <a:gd name="T4" fmla="*/ 5 w 288"/>
                <a:gd name="T5" fmla="*/ 36 h 60"/>
                <a:gd name="T6" fmla="*/ 0 w 288"/>
                <a:gd name="T7" fmla="*/ 30 h 60"/>
                <a:gd name="T8" fmla="*/ 5 w 288"/>
                <a:gd name="T9" fmla="*/ 24 h 60"/>
                <a:gd name="T10" fmla="*/ 143 w 288"/>
                <a:gd name="T11" fmla="*/ 0 h 60"/>
                <a:gd name="T12" fmla="*/ 145 w 288"/>
                <a:gd name="T13" fmla="*/ 0 h 60"/>
                <a:gd name="T14" fmla="*/ 283 w 288"/>
                <a:gd name="T15" fmla="*/ 24 h 60"/>
                <a:gd name="T16" fmla="*/ 288 w 288"/>
                <a:gd name="T17" fmla="*/ 30 h 60"/>
                <a:gd name="T18" fmla="*/ 283 w 288"/>
                <a:gd name="T19" fmla="*/ 36 h 60"/>
                <a:gd name="T20" fmla="*/ 145 w 288"/>
                <a:gd name="T21" fmla="*/ 60 h 60"/>
                <a:gd name="T22" fmla="*/ 144 w 288"/>
                <a:gd name="T23" fmla="*/ 60 h 60"/>
                <a:gd name="T24" fmla="*/ 41 w 288"/>
                <a:gd name="T25" fmla="*/ 30 h 60"/>
                <a:gd name="T26" fmla="*/ 144 w 288"/>
                <a:gd name="T27" fmla="*/ 48 h 60"/>
                <a:gd name="T28" fmla="*/ 247 w 288"/>
                <a:gd name="T29" fmla="*/ 30 h 60"/>
                <a:gd name="T30" fmla="*/ 144 w 288"/>
                <a:gd name="T31" fmla="*/ 12 h 60"/>
                <a:gd name="T32" fmla="*/ 41 w 288"/>
                <a:gd name="T33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60">
                  <a:moveTo>
                    <a:pt x="144" y="60"/>
                  </a:moveTo>
                  <a:cubicBezTo>
                    <a:pt x="144" y="60"/>
                    <a:pt x="144" y="60"/>
                    <a:pt x="143" y="6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" y="35"/>
                    <a:pt x="0" y="33"/>
                    <a:pt x="0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4" y="0"/>
                    <a:pt x="145" y="0"/>
                    <a:pt x="145" y="0"/>
                  </a:cubicBezTo>
                  <a:cubicBezTo>
                    <a:pt x="283" y="24"/>
                    <a:pt x="283" y="24"/>
                    <a:pt x="283" y="24"/>
                  </a:cubicBezTo>
                  <a:cubicBezTo>
                    <a:pt x="286" y="24"/>
                    <a:pt x="288" y="27"/>
                    <a:pt x="288" y="30"/>
                  </a:cubicBezTo>
                  <a:cubicBezTo>
                    <a:pt x="288" y="33"/>
                    <a:pt x="286" y="35"/>
                    <a:pt x="283" y="36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5" y="60"/>
                    <a:pt x="144" y="60"/>
                  </a:cubicBezTo>
                  <a:close/>
                  <a:moveTo>
                    <a:pt x="41" y="30"/>
                  </a:moveTo>
                  <a:cubicBezTo>
                    <a:pt x="144" y="48"/>
                    <a:pt x="144" y="48"/>
                    <a:pt x="144" y="48"/>
                  </a:cubicBezTo>
                  <a:cubicBezTo>
                    <a:pt x="247" y="30"/>
                    <a:pt x="247" y="30"/>
                    <a:pt x="247" y="30"/>
                  </a:cubicBezTo>
                  <a:cubicBezTo>
                    <a:pt x="144" y="12"/>
                    <a:pt x="144" y="12"/>
                    <a:pt x="144" y="12"/>
                  </a:cubicBezTo>
                  <a:lnTo>
                    <a:pt x="4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9" name="Freeform 216">
              <a:extLst>
                <a:ext uri="{FF2B5EF4-FFF2-40B4-BE49-F238E27FC236}">
                  <a16:creationId xmlns:a16="http://schemas.microsoft.com/office/drawing/2014/main" id="{EC8E6074-932E-4B4E-8158-2BA47CFA6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" y="718"/>
              <a:ext cx="201" cy="88"/>
            </a:xfrm>
            <a:custGeom>
              <a:avLst/>
              <a:gdLst>
                <a:gd name="T0" fmla="*/ 66 w 132"/>
                <a:gd name="T1" fmla="*/ 59 h 59"/>
                <a:gd name="T2" fmla="*/ 2 w 132"/>
                <a:gd name="T3" fmla="*/ 39 h 59"/>
                <a:gd name="T4" fmla="*/ 0 w 132"/>
                <a:gd name="T5" fmla="*/ 35 h 59"/>
                <a:gd name="T6" fmla="*/ 0 w 132"/>
                <a:gd name="T7" fmla="*/ 6 h 59"/>
                <a:gd name="T8" fmla="*/ 6 w 132"/>
                <a:gd name="T9" fmla="*/ 0 h 59"/>
                <a:gd name="T10" fmla="*/ 12 w 132"/>
                <a:gd name="T11" fmla="*/ 6 h 59"/>
                <a:gd name="T12" fmla="*/ 12 w 132"/>
                <a:gd name="T13" fmla="*/ 32 h 59"/>
                <a:gd name="T14" fmla="*/ 66 w 132"/>
                <a:gd name="T15" fmla="*/ 47 h 59"/>
                <a:gd name="T16" fmla="*/ 120 w 132"/>
                <a:gd name="T17" fmla="*/ 32 h 59"/>
                <a:gd name="T18" fmla="*/ 120 w 132"/>
                <a:gd name="T19" fmla="*/ 6 h 59"/>
                <a:gd name="T20" fmla="*/ 126 w 132"/>
                <a:gd name="T21" fmla="*/ 0 h 59"/>
                <a:gd name="T22" fmla="*/ 132 w 132"/>
                <a:gd name="T23" fmla="*/ 6 h 59"/>
                <a:gd name="T24" fmla="*/ 132 w 132"/>
                <a:gd name="T25" fmla="*/ 35 h 59"/>
                <a:gd name="T26" fmla="*/ 130 w 132"/>
                <a:gd name="T27" fmla="*/ 39 h 59"/>
                <a:gd name="T28" fmla="*/ 66 w 132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59">
                  <a:moveTo>
                    <a:pt x="66" y="59"/>
                  </a:moveTo>
                  <a:cubicBezTo>
                    <a:pt x="22" y="59"/>
                    <a:pt x="3" y="40"/>
                    <a:pt x="2" y="39"/>
                  </a:cubicBezTo>
                  <a:cubicBezTo>
                    <a:pt x="1" y="38"/>
                    <a:pt x="0" y="36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7" y="36"/>
                    <a:pt x="35" y="47"/>
                    <a:pt x="66" y="47"/>
                  </a:cubicBezTo>
                  <a:cubicBezTo>
                    <a:pt x="98" y="47"/>
                    <a:pt x="115" y="36"/>
                    <a:pt x="120" y="32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3"/>
                    <a:pt x="123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6"/>
                    <a:pt x="132" y="38"/>
                    <a:pt x="130" y="39"/>
                  </a:cubicBezTo>
                  <a:cubicBezTo>
                    <a:pt x="130" y="40"/>
                    <a:pt x="110" y="59"/>
                    <a:pt x="66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0" name="Freeform 217">
              <a:extLst>
                <a:ext uri="{FF2B5EF4-FFF2-40B4-BE49-F238E27FC236}">
                  <a16:creationId xmlns:a16="http://schemas.microsoft.com/office/drawing/2014/main" id="{C8BED602-4B69-4DD9-ADEB-3984548A3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3" y="706"/>
              <a:ext cx="18" cy="82"/>
            </a:xfrm>
            <a:custGeom>
              <a:avLst/>
              <a:gdLst>
                <a:gd name="T0" fmla="*/ 6 w 12"/>
                <a:gd name="T1" fmla="*/ 55 h 55"/>
                <a:gd name="T2" fmla="*/ 0 w 12"/>
                <a:gd name="T3" fmla="*/ 49 h 55"/>
                <a:gd name="T4" fmla="*/ 0 w 12"/>
                <a:gd name="T5" fmla="*/ 6 h 55"/>
                <a:gd name="T6" fmla="*/ 6 w 12"/>
                <a:gd name="T7" fmla="*/ 0 h 55"/>
                <a:gd name="T8" fmla="*/ 12 w 12"/>
                <a:gd name="T9" fmla="*/ 6 h 55"/>
                <a:gd name="T10" fmla="*/ 12 w 12"/>
                <a:gd name="T11" fmla="*/ 49 h 55"/>
                <a:gd name="T12" fmla="*/ 6 w 12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5">
                  <a:moveTo>
                    <a:pt x="6" y="55"/>
                  </a:moveTo>
                  <a:cubicBezTo>
                    <a:pt x="3" y="55"/>
                    <a:pt x="0" y="52"/>
                    <a:pt x="0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52"/>
                    <a:pt x="10" y="55"/>
                    <a:pt x="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1" name="Freeform 218">
              <a:extLst>
                <a:ext uri="{FF2B5EF4-FFF2-40B4-BE49-F238E27FC236}">
                  <a16:creationId xmlns:a16="http://schemas.microsoft.com/office/drawing/2014/main" id="{88248631-F1A5-4C93-9F1F-48983EA6B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6" y="770"/>
              <a:ext cx="73" cy="143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2 w 48"/>
                <a:gd name="T5" fmla="*/ 94 h 96"/>
                <a:gd name="T6" fmla="*/ 0 w 48"/>
                <a:gd name="T7" fmla="*/ 89 h 96"/>
                <a:gd name="T8" fmla="*/ 18 w 48"/>
                <a:gd name="T9" fmla="*/ 5 h 96"/>
                <a:gd name="T10" fmla="*/ 24 w 48"/>
                <a:gd name="T11" fmla="*/ 0 h 96"/>
                <a:gd name="T12" fmla="*/ 30 w 48"/>
                <a:gd name="T13" fmla="*/ 5 h 96"/>
                <a:gd name="T14" fmla="*/ 48 w 48"/>
                <a:gd name="T15" fmla="*/ 89 h 96"/>
                <a:gd name="T16" fmla="*/ 47 w 48"/>
                <a:gd name="T17" fmla="*/ 94 h 96"/>
                <a:gd name="T18" fmla="*/ 42 w 48"/>
                <a:gd name="T19" fmla="*/ 96 h 96"/>
                <a:gd name="T20" fmla="*/ 14 w 48"/>
                <a:gd name="T21" fmla="*/ 84 h 96"/>
                <a:gd name="T22" fmla="*/ 35 w 48"/>
                <a:gd name="T23" fmla="*/ 84 h 96"/>
                <a:gd name="T24" fmla="*/ 24 w 48"/>
                <a:gd name="T25" fmla="*/ 34 h 96"/>
                <a:gd name="T26" fmla="*/ 14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4" y="96"/>
                    <a:pt x="3" y="95"/>
                    <a:pt x="2" y="94"/>
                  </a:cubicBezTo>
                  <a:cubicBezTo>
                    <a:pt x="0" y="92"/>
                    <a:pt x="0" y="90"/>
                    <a:pt x="0" y="89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2"/>
                    <a:pt x="21" y="0"/>
                    <a:pt x="24" y="0"/>
                  </a:cubicBezTo>
                  <a:cubicBezTo>
                    <a:pt x="27" y="0"/>
                    <a:pt x="30" y="2"/>
                    <a:pt x="30" y="5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8" y="90"/>
                    <a:pt x="48" y="92"/>
                    <a:pt x="47" y="94"/>
                  </a:cubicBezTo>
                  <a:cubicBezTo>
                    <a:pt x="46" y="95"/>
                    <a:pt x="44" y="96"/>
                    <a:pt x="42" y="96"/>
                  </a:cubicBezTo>
                  <a:close/>
                  <a:moveTo>
                    <a:pt x="14" y="84"/>
                  </a:moveTo>
                  <a:cubicBezTo>
                    <a:pt x="35" y="84"/>
                    <a:pt x="35" y="84"/>
                    <a:pt x="35" y="84"/>
                  </a:cubicBezTo>
                  <a:cubicBezTo>
                    <a:pt x="24" y="34"/>
                    <a:pt x="24" y="34"/>
                    <a:pt x="24" y="34"/>
                  </a:cubicBezTo>
                  <a:lnTo>
                    <a:pt x="14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2" name="Freeform 219">
              <a:extLst>
                <a:ext uri="{FF2B5EF4-FFF2-40B4-BE49-F238E27FC236}">
                  <a16:creationId xmlns:a16="http://schemas.microsoft.com/office/drawing/2014/main" id="{24E232E3-4249-4F87-9336-18CDDA0DC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" y="943"/>
              <a:ext cx="213" cy="114"/>
            </a:xfrm>
            <a:custGeom>
              <a:avLst/>
              <a:gdLst>
                <a:gd name="T0" fmla="*/ 69 w 139"/>
                <a:gd name="T1" fmla="*/ 76 h 76"/>
                <a:gd name="T2" fmla="*/ 65 w 139"/>
                <a:gd name="T3" fmla="*/ 74 h 76"/>
                <a:gd name="T4" fmla="*/ 2 w 139"/>
                <a:gd name="T5" fmla="*/ 11 h 76"/>
                <a:gd name="T6" fmla="*/ 2 w 139"/>
                <a:gd name="T7" fmla="*/ 3 h 76"/>
                <a:gd name="T8" fmla="*/ 10 w 139"/>
                <a:gd name="T9" fmla="*/ 3 h 76"/>
                <a:gd name="T10" fmla="*/ 69 w 139"/>
                <a:gd name="T11" fmla="*/ 61 h 76"/>
                <a:gd name="T12" fmla="*/ 128 w 139"/>
                <a:gd name="T13" fmla="*/ 2 h 76"/>
                <a:gd name="T14" fmla="*/ 137 w 139"/>
                <a:gd name="T15" fmla="*/ 2 h 76"/>
                <a:gd name="T16" fmla="*/ 137 w 139"/>
                <a:gd name="T17" fmla="*/ 11 h 76"/>
                <a:gd name="T18" fmla="*/ 73 w 139"/>
                <a:gd name="T19" fmla="*/ 74 h 76"/>
                <a:gd name="T20" fmla="*/ 69 w 139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9" h="76">
                  <a:moveTo>
                    <a:pt x="69" y="76"/>
                  </a:moveTo>
                  <a:cubicBezTo>
                    <a:pt x="68" y="76"/>
                    <a:pt x="66" y="75"/>
                    <a:pt x="65" y="7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128" y="2"/>
                    <a:pt x="128" y="2"/>
                    <a:pt x="128" y="2"/>
                  </a:cubicBezTo>
                  <a:cubicBezTo>
                    <a:pt x="130" y="0"/>
                    <a:pt x="134" y="0"/>
                    <a:pt x="137" y="2"/>
                  </a:cubicBezTo>
                  <a:cubicBezTo>
                    <a:pt x="139" y="5"/>
                    <a:pt x="139" y="9"/>
                    <a:pt x="137" y="11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2" y="75"/>
                    <a:pt x="71" y="76"/>
                    <a:pt x="69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BCC758-BBC3-4704-A7CA-8FB7D08D7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auto">
          <a:xfrm rot="5400000">
            <a:off x="6705842" y="4063445"/>
            <a:ext cx="512064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01407E72-66F8-4775-B505-C12C797B15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4816" y="3137102"/>
            <a:ext cx="2196000" cy="1250950"/>
          </a:xfrm>
          <a:prstGeom prst="rect">
            <a:avLst/>
          </a:prstGeom>
        </p:spPr>
        <p:txBody>
          <a:bodyPr lIns="54000" tIns="36000" rIns="36000" bIns="36000"/>
          <a:lstStyle>
            <a:lvl1pPr marL="0" indent="0" algn="just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D4236A14-AFD0-429E-8B94-FD0C006552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4816" y="5297679"/>
            <a:ext cx="2196000" cy="477479"/>
          </a:xfrm>
          <a:prstGeom prst="rect">
            <a:avLst/>
          </a:prstGeom>
        </p:spPr>
        <p:txBody>
          <a:bodyPr lIns="54000" tIns="36000" rIns="36000" bIns="36000" numCol="2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Text Placeholder 98">
            <a:extLst>
              <a:ext uri="{FF2B5EF4-FFF2-40B4-BE49-F238E27FC236}">
                <a16:creationId xmlns:a16="http://schemas.microsoft.com/office/drawing/2014/main" id="{BF2A2800-9122-4AE6-8294-B506317011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849" y="420379"/>
            <a:ext cx="7174800" cy="491306"/>
          </a:xfrm>
          <a:prstGeom prst="rect">
            <a:avLst/>
          </a:prstGeom>
        </p:spPr>
        <p:txBody>
          <a:bodyPr lIns="0" tIns="61200" rIns="0" bIns="0" anchor="b" anchorCtr="0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pl-PL" sz="3549" b="1" kern="1200" dirty="0">
                <a:solidFill>
                  <a:schemeClr val="tx1"/>
                </a:solidFill>
                <a:latin typeface="Graphik Black" panose="020B0A03030202060203" pitchFamily="34" charset="-18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mię i nazwisko</a:t>
            </a:r>
          </a:p>
        </p:txBody>
      </p:sp>
      <p:sp>
        <p:nvSpPr>
          <p:cNvPr id="37" name="Text Placeholder 91">
            <a:extLst>
              <a:ext uri="{FF2B5EF4-FFF2-40B4-BE49-F238E27FC236}">
                <a16:creationId xmlns:a16="http://schemas.microsoft.com/office/drawing/2014/main" id="{F12B844A-0114-4CB3-942B-701FBFECFC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849" y="1030842"/>
            <a:ext cx="4140000" cy="399600"/>
          </a:xfrm>
          <a:prstGeom prst="rect">
            <a:avLst/>
          </a:prstGeom>
        </p:spPr>
        <p:txBody>
          <a:bodyPr lIns="0" tIns="0" rIns="72000" bIns="36000" anchor="b" anchorCtr="0"/>
          <a:lstStyle>
            <a:lvl1pPr marL="0" indent="0">
              <a:buNone/>
              <a:defRPr kumimoji="0" lang="pl-PL" sz="2000" b="0" i="0" u="none" strike="noStrike" kern="1200" cap="none" spc="0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Sectra Fine Rg" panose="00000500000000000000" pitchFamily="50" charset="0"/>
                <a:ea typeface="Roboto Medium" panose="02000000000000000000" pitchFamily="2" charset="0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2286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77E53257-0C7A-4574-B279-5D0B0F4DD728}"/>
              </a:ext>
            </a:extLst>
          </p:cNvPr>
          <p:cNvSpPr txBox="1">
            <a:spLocks/>
          </p:cNvSpPr>
          <p:nvPr userDrawn="1"/>
        </p:nvSpPr>
        <p:spPr>
          <a:xfrm>
            <a:off x="2880849" y="1556713"/>
            <a:ext cx="4773737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6000" rIns="36000" bIns="36000" rtlCol="0" anchor="ctr" anchorCtr="0">
            <a:no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noProof="0">
                <a:solidFill>
                  <a:srgbClr val="7500C0"/>
                </a:solidFill>
                <a:latin typeface="Graphik"/>
              </a:rPr>
              <a:t>Relevant project experience</a:t>
            </a:r>
          </a:p>
        </p:txBody>
      </p:sp>
      <p:sp>
        <p:nvSpPr>
          <p:cNvPr id="39" name="Picture Placeholder 8">
            <a:extLst>
              <a:ext uri="{FF2B5EF4-FFF2-40B4-BE49-F238E27FC236}">
                <a16:creationId xmlns:a16="http://schemas.microsoft.com/office/drawing/2014/main" id="{D7CAE0B1-7F50-46CB-A1EB-0C1DB621F2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2628000" cy="2592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pl-PL"/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A8ABD034-B5F4-4B45-9AFF-E5B729F00B87}"/>
              </a:ext>
            </a:extLst>
          </p:cNvPr>
          <p:cNvSpPr txBox="1">
            <a:spLocks/>
          </p:cNvSpPr>
          <p:nvPr userDrawn="1"/>
        </p:nvSpPr>
        <p:spPr>
          <a:xfrm>
            <a:off x="9682733" y="3361954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noProof="0">
                <a:solidFill>
                  <a:schemeClr val="accent2"/>
                </a:solidFill>
              </a:rPr>
              <a:t>Key skill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51B1312-96EF-48D9-B9D1-F8F197504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266162" y="3298265"/>
            <a:ext cx="265176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2" name="Group 83">
            <a:extLst>
              <a:ext uri="{FF2B5EF4-FFF2-40B4-BE49-F238E27FC236}">
                <a16:creationId xmlns:a16="http://schemas.microsoft.com/office/drawing/2014/main" id="{FCA95F8C-67D0-41A3-B94A-53AE76996A0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18492" y="3372048"/>
            <a:ext cx="321172" cy="328641"/>
            <a:chOff x="1580" y="1910"/>
            <a:chExt cx="387" cy="396"/>
          </a:xfrm>
          <a:solidFill>
            <a:schemeClr val="accent2"/>
          </a:solidFill>
        </p:grpSpPr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D9B03C2E-83D0-43C2-ADBD-B06AB50006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82"/>
              <a:ext cx="238" cy="252"/>
            </a:xfrm>
            <a:custGeom>
              <a:avLst/>
              <a:gdLst>
                <a:gd name="T0" fmla="*/ 0 w 156"/>
                <a:gd name="T1" fmla="*/ 78 h 169"/>
                <a:gd name="T2" fmla="*/ 54 w 156"/>
                <a:gd name="T3" fmla="*/ 163 h 169"/>
                <a:gd name="T4" fmla="*/ 96 w 156"/>
                <a:gd name="T5" fmla="*/ 169 h 169"/>
                <a:gd name="T6" fmla="*/ 102 w 156"/>
                <a:gd name="T7" fmla="*/ 153 h 169"/>
                <a:gd name="T8" fmla="*/ 78 w 156"/>
                <a:gd name="T9" fmla="*/ 0 h 169"/>
                <a:gd name="T10" fmla="*/ 90 w 156"/>
                <a:gd name="T11" fmla="*/ 148 h 169"/>
                <a:gd name="T12" fmla="*/ 66 w 156"/>
                <a:gd name="T13" fmla="*/ 157 h 169"/>
                <a:gd name="T14" fmla="*/ 61 w 156"/>
                <a:gd name="T15" fmla="*/ 142 h 169"/>
                <a:gd name="T16" fmla="*/ 63 w 156"/>
                <a:gd name="T17" fmla="*/ 133 h 169"/>
                <a:gd name="T18" fmla="*/ 67 w 156"/>
                <a:gd name="T19" fmla="*/ 110 h 169"/>
                <a:gd name="T20" fmla="*/ 58 w 156"/>
                <a:gd name="T21" fmla="*/ 89 h 169"/>
                <a:gd name="T22" fmla="*/ 53 w 156"/>
                <a:gd name="T23" fmla="*/ 78 h 169"/>
                <a:gd name="T24" fmla="*/ 56 w 156"/>
                <a:gd name="T25" fmla="*/ 67 h 169"/>
                <a:gd name="T26" fmla="*/ 55 w 156"/>
                <a:gd name="T27" fmla="*/ 57 h 169"/>
                <a:gd name="T28" fmla="*/ 82 w 156"/>
                <a:gd name="T29" fmla="*/ 44 h 169"/>
                <a:gd name="T30" fmla="*/ 99 w 156"/>
                <a:gd name="T31" fmla="*/ 67 h 169"/>
                <a:gd name="T32" fmla="*/ 102 w 156"/>
                <a:gd name="T33" fmla="*/ 78 h 169"/>
                <a:gd name="T34" fmla="*/ 102 w 156"/>
                <a:gd name="T35" fmla="*/ 83 h 169"/>
                <a:gd name="T36" fmla="*/ 92 w 156"/>
                <a:gd name="T37" fmla="*/ 105 h 169"/>
                <a:gd name="T38" fmla="*/ 89 w 156"/>
                <a:gd name="T39" fmla="*/ 127 h 169"/>
                <a:gd name="T40" fmla="*/ 105 w 156"/>
                <a:gd name="T41" fmla="*/ 138 h 169"/>
                <a:gd name="T42" fmla="*/ 118 w 156"/>
                <a:gd name="T43" fmla="*/ 131 h 169"/>
                <a:gd name="T44" fmla="*/ 100 w 156"/>
                <a:gd name="T45" fmla="*/ 114 h 169"/>
                <a:gd name="T46" fmla="*/ 114 w 156"/>
                <a:gd name="T47" fmla="*/ 80 h 169"/>
                <a:gd name="T48" fmla="*/ 111 w 156"/>
                <a:gd name="T49" fmla="*/ 69 h 169"/>
                <a:gd name="T50" fmla="*/ 82 w 156"/>
                <a:gd name="T51" fmla="*/ 33 h 169"/>
                <a:gd name="T52" fmla="*/ 44 w 156"/>
                <a:gd name="T53" fmla="*/ 49 h 169"/>
                <a:gd name="T54" fmla="*/ 43 w 156"/>
                <a:gd name="T55" fmla="*/ 71 h 169"/>
                <a:gd name="T56" fmla="*/ 46 w 156"/>
                <a:gd name="T57" fmla="*/ 93 h 169"/>
                <a:gd name="T58" fmla="*/ 55 w 156"/>
                <a:gd name="T59" fmla="*/ 123 h 169"/>
                <a:gd name="T60" fmla="*/ 12 w 156"/>
                <a:gd name="T61" fmla="*/ 78 h 169"/>
                <a:gd name="T62" fmla="*/ 144 w 156"/>
                <a:gd name="T63" fmla="*/ 7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9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12"/>
                    <a:pt x="22" y="142"/>
                    <a:pt x="54" y="153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6"/>
                    <a:pt x="56" y="169"/>
                    <a:pt x="60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9" y="169"/>
                    <a:pt x="102" y="166"/>
                    <a:pt x="102" y="16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34" y="142"/>
                    <a:pt x="156" y="112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lose/>
                  <a:moveTo>
                    <a:pt x="94" y="142"/>
                  </a:moveTo>
                  <a:cubicBezTo>
                    <a:pt x="92" y="143"/>
                    <a:pt x="90" y="145"/>
                    <a:pt x="90" y="148"/>
                  </a:cubicBezTo>
                  <a:cubicBezTo>
                    <a:pt x="90" y="157"/>
                    <a:pt x="90" y="157"/>
                    <a:pt x="90" y="157"/>
                  </a:cubicBezTo>
                  <a:cubicBezTo>
                    <a:pt x="66" y="157"/>
                    <a:pt x="66" y="157"/>
                    <a:pt x="66" y="157"/>
                  </a:cubicBezTo>
                  <a:cubicBezTo>
                    <a:pt x="66" y="148"/>
                    <a:pt x="66" y="148"/>
                    <a:pt x="66" y="148"/>
                  </a:cubicBezTo>
                  <a:cubicBezTo>
                    <a:pt x="66" y="145"/>
                    <a:pt x="64" y="143"/>
                    <a:pt x="61" y="142"/>
                  </a:cubicBezTo>
                  <a:cubicBezTo>
                    <a:pt x="57" y="141"/>
                    <a:pt x="54" y="140"/>
                    <a:pt x="50" y="138"/>
                  </a:cubicBezTo>
                  <a:cubicBezTo>
                    <a:pt x="54" y="136"/>
                    <a:pt x="59" y="135"/>
                    <a:pt x="63" y="133"/>
                  </a:cubicBezTo>
                  <a:cubicBezTo>
                    <a:pt x="65" y="132"/>
                    <a:pt x="67" y="130"/>
                    <a:pt x="67" y="12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08"/>
                    <a:pt x="65" y="106"/>
                    <a:pt x="63" y="105"/>
                  </a:cubicBezTo>
                  <a:cubicBezTo>
                    <a:pt x="63" y="105"/>
                    <a:pt x="58" y="102"/>
                    <a:pt x="58" y="89"/>
                  </a:cubicBezTo>
                  <a:cubicBezTo>
                    <a:pt x="58" y="86"/>
                    <a:pt x="56" y="84"/>
                    <a:pt x="54" y="84"/>
                  </a:cubicBezTo>
                  <a:cubicBezTo>
                    <a:pt x="53" y="83"/>
                    <a:pt x="52" y="80"/>
                    <a:pt x="53" y="78"/>
                  </a:cubicBezTo>
                  <a:cubicBezTo>
                    <a:pt x="56" y="78"/>
                    <a:pt x="58" y="75"/>
                    <a:pt x="58" y="72"/>
                  </a:cubicBezTo>
                  <a:cubicBezTo>
                    <a:pt x="58" y="71"/>
                    <a:pt x="58" y="69"/>
                    <a:pt x="56" y="67"/>
                  </a:cubicBezTo>
                  <a:cubicBezTo>
                    <a:pt x="54" y="60"/>
                    <a:pt x="53" y="58"/>
                    <a:pt x="53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8" y="58"/>
                    <a:pt x="61" y="56"/>
                    <a:pt x="62" y="53"/>
                  </a:cubicBezTo>
                  <a:cubicBezTo>
                    <a:pt x="63" y="48"/>
                    <a:pt x="72" y="44"/>
                    <a:pt x="82" y="44"/>
                  </a:cubicBezTo>
                  <a:cubicBezTo>
                    <a:pt x="92" y="44"/>
                    <a:pt x="100" y="48"/>
                    <a:pt x="102" y="53"/>
                  </a:cubicBezTo>
                  <a:cubicBezTo>
                    <a:pt x="103" y="58"/>
                    <a:pt x="100" y="64"/>
                    <a:pt x="99" y="67"/>
                  </a:cubicBezTo>
                  <a:cubicBezTo>
                    <a:pt x="98" y="69"/>
                    <a:pt x="97" y="71"/>
                    <a:pt x="97" y="72"/>
                  </a:cubicBezTo>
                  <a:cubicBezTo>
                    <a:pt x="97" y="75"/>
                    <a:pt x="100" y="78"/>
                    <a:pt x="102" y="78"/>
                  </a:cubicBezTo>
                  <a:cubicBezTo>
                    <a:pt x="103" y="78"/>
                    <a:pt x="103" y="79"/>
                    <a:pt x="103" y="79"/>
                  </a:cubicBezTo>
                  <a:cubicBezTo>
                    <a:pt x="103" y="81"/>
                    <a:pt x="102" y="82"/>
                    <a:pt x="102" y="83"/>
                  </a:cubicBezTo>
                  <a:cubicBezTo>
                    <a:pt x="99" y="84"/>
                    <a:pt x="97" y="86"/>
                    <a:pt x="97" y="89"/>
                  </a:cubicBezTo>
                  <a:cubicBezTo>
                    <a:pt x="97" y="101"/>
                    <a:pt x="93" y="104"/>
                    <a:pt x="92" y="105"/>
                  </a:cubicBezTo>
                  <a:cubicBezTo>
                    <a:pt x="90" y="106"/>
                    <a:pt x="89" y="108"/>
                    <a:pt x="89" y="110"/>
                  </a:cubicBezTo>
                  <a:cubicBezTo>
                    <a:pt x="89" y="127"/>
                    <a:pt x="89" y="127"/>
                    <a:pt x="89" y="127"/>
                  </a:cubicBezTo>
                  <a:cubicBezTo>
                    <a:pt x="89" y="130"/>
                    <a:pt x="90" y="132"/>
                    <a:pt x="92" y="133"/>
                  </a:cubicBezTo>
                  <a:cubicBezTo>
                    <a:pt x="97" y="135"/>
                    <a:pt x="101" y="136"/>
                    <a:pt x="105" y="138"/>
                  </a:cubicBezTo>
                  <a:cubicBezTo>
                    <a:pt x="102" y="140"/>
                    <a:pt x="98" y="141"/>
                    <a:pt x="94" y="142"/>
                  </a:cubicBezTo>
                  <a:close/>
                  <a:moveTo>
                    <a:pt x="118" y="131"/>
                  </a:moveTo>
                  <a:cubicBezTo>
                    <a:pt x="112" y="128"/>
                    <a:pt x="106" y="126"/>
                    <a:pt x="100" y="12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4" y="111"/>
                    <a:pt x="108" y="105"/>
                    <a:pt x="109" y="93"/>
                  </a:cubicBezTo>
                  <a:cubicBezTo>
                    <a:pt x="112" y="90"/>
                    <a:pt x="114" y="85"/>
                    <a:pt x="114" y="80"/>
                  </a:cubicBezTo>
                  <a:cubicBezTo>
                    <a:pt x="114" y="76"/>
                    <a:pt x="114" y="74"/>
                    <a:pt x="112" y="71"/>
                  </a:cubicBezTo>
                  <a:cubicBezTo>
                    <a:pt x="112" y="71"/>
                    <a:pt x="111" y="70"/>
                    <a:pt x="111" y="69"/>
                  </a:cubicBezTo>
                  <a:cubicBezTo>
                    <a:pt x="113" y="65"/>
                    <a:pt x="115" y="57"/>
                    <a:pt x="113" y="50"/>
                  </a:cubicBezTo>
                  <a:cubicBezTo>
                    <a:pt x="110" y="37"/>
                    <a:pt x="94" y="33"/>
                    <a:pt x="82" y="33"/>
                  </a:cubicBezTo>
                  <a:cubicBezTo>
                    <a:pt x="71" y="33"/>
                    <a:pt x="58" y="36"/>
                    <a:pt x="53" y="45"/>
                  </a:cubicBezTo>
                  <a:cubicBezTo>
                    <a:pt x="49" y="45"/>
                    <a:pt x="46" y="46"/>
                    <a:pt x="44" y="49"/>
                  </a:cubicBezTo>
                  <a:cubicBezTo>
                    <a:pt x="39" y="55"/>
                    <a:pt x="42" y="64"/>
                    <a:pt x="45" y="69"/>
                  </a:cubicBezTo>
                  <a:cubicBezTo>
                    <a:pt x="44" y="70"/>
                    <a:pt x="44" y="71"/>
                    <a:pt x="43" y="71"/>
                  </a:cubicBezTo>
                  <a:cubicBezTo>
                    <a:pt x="42" y="74"/>
                    <a:pt x="41" y="77"/>
                    <a:pt x="41" y="80"/>
                  </a:cubicBezTo>
                  <a:cubicBezTo>
                    <a:pt x="41" y="85"/>
                    <a:pt x="43" y="90"/>
                    <a:pt x="46" y="93"/>
                  </a:cubicBezTo>
                  <a:cubicBezTo>
                    <a:pt x="47" y="105"/>
                    <a:pt x="51" y="111"/>
                    <a:pt x="55" y="114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49" y="126"/>
                    <a:pt x="43" y="128"/>
                    <a:pt x="38" y="131"/>
                  </a:cubicBezTo>
                  <a:cubicBezTo>
                    <a:pt x="22" y="119"/>
                    <a:pt x="12" y="100"/>
                    <a:pt x="12" y="78"/>
                  </a:cubicBezTo>
                  <a:cubicBezTo>
                    <a:pt x="12" y="42"/>
                    <a:pt x="41" y="12"/>
                    <a:pt x="78" y="12"/>
                  </a:cubicBezTo>
                  <a:cubicBezTo>
                    <a:pt x="114" y="12"/>
                    <a:pt x="144" y="42"/>
                    <a:pt x="144" y="78"/>
                  </a:cubicBezTo>
                  <a:cubicBezTo>
                    <a:pt x="144" y="100"/>
                    <a:pt x="134" y="119"/>
                    <a:pt x="118" y="1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A8DB1EF7-B4F2-4C78-9EBC-9F7E16168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288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2"/>
                    <a:pt x="21" y="0"/>
                    <a:pt x="1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9E3F8CA7-0F4B-4F85-81CE-17DA63E40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2252"/>
              <a:ext cx="74" cy="18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5" y="12"/>
                    <a:pt x="48" y="9"/>
                    <a:pt x="48" y="6"/>
                  </a:cubicBezTo>
                  <a:cubicBezTo>
                    <a:pt x="48" y="2"/>
                    <a:pt x="45" y="0"/>
                    <a:pt x="4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id="{39C29068-057D-45AB-9FA9-8B0F23AB5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191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2" y="36"/>
                    <a:pt x="6" y="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7" name="Freeform 88">
              <a:extLst>
                <a:ext uri="{FF2B5EF4-FFF2-40B4-BE49-F238E27FC236}">
                  <a16:creationId xmlns:a16="http://schemas.microsoft.com/office/drawing/2014/main" id="{CA19B0F7-3B87-4621-BB53-CBDE997DA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8" name="Freeform 89">
              <a:extLst>
                <a:ext uri="{FF2B5EF4-FFF2-40B4-BE49-F238E27FC236}">
                  <a16:creationId xmlns:a16="http://schemas.microsoft.com/office/drawing/2014/main" id="{758E107B-D5FB-4E68-A39C-7C0515D20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10"/>
                    <a:pt x="36" y="6"/>
                  </a:cubicBezTo>
                  <a:cubicBezTo>
                    <a:pt x="36" y="3"/>
                    <a:pt x="34" y="0"/>
                    <a:pt x="3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9" name="Freeform 90">
              <a:extLst>
                <a:ext uri="{FF2B5EF4-FFF2-40B4-BE49-F238E27FC236}">
                  <a16:creationId xmlns:a16="http://schemas.microsoft.com/office/drawing/2014/main" id="{A76C3E93-232D-4707-B307-533E8A377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49"/>
              <a:ext cx="58" cy="57"/>
            </a:xfrm>
            <a:custGeom>
              <a:avLst/>
              <a:gdLst>
                <a:gd name="T0" fmla="*/ 27 w 38"/>
                <a:gd name="T1" fmla="*/ 37 h 38"/>
                <a:gd name="T2" fmla="*/ 32 w 38"/>
                <a:gd name="T3" fmla="*/ 38 h 38"/>
                <a:gd name="T4" fmla="*/ 36 w 38"/>
                <a:gd name="T5" fmla="*/ 37 h 38"/>
                <a:gd name="T6" fmla="*/ 36 w 38"/>
                <a:gd name="T7" fmla="*/ 28 h 38"/>
                <a:gd name="T8" fmla="*/ 10 w 38"/>
                <a:gd name="T9" fmla="*/ 3 h 38"/>
                <a:gd name="T10" fmla="*/ 2 w 38"/>
                <a:gd name="T11" fmla="*/ 3 h 38"/>
                <a:gd name="T12" fmla="*/ 2 w 38"/>
                <a:gd name="T13" fmla="*/ 11 h 38"/>
                <a:gd name="T14" fmla="*/ 27 w 38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27" y="37"/>
                  </a:moveTo>
                  <a:cubicBezTo>
                    <a:pt x="29" y="38"/>
                    <a:pt x="30" y="38"/>
                    <a:pt x="32" y="38"/>
                  </a:cubicBezTo>
                  <a:cubicBezTo>
                    <a:pt x="33" y="38"/>
                    <a:pt x="35" y="38"/>
                    <a:pt x="36" y="37"/>
                  </a:cubicBezTo>
                  <a:cubicBezTo>
                    <a:pt x="38" y="34"/>
                    <a:pt x="38" y="31"/>
                    <a:pt x="36" y="2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lnTo>
                    <a:pt x="27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50" name="Freeform 91">
              <a:extLst>
                <a:ext uri="{FF2B5EF4-FFF2-40B4-BE49-F238E27FC236}">
                  <a16:creationId xmlns:a16="http://schemas.microsoft.com/office/drawing/2014/main" id="{C3FDEC82-C31B-4A05-BFAC-C8C814527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1949"/>
              <a:ext cx="60" cy="57"/>
            </a:xfrm>
            <a:custGeom>
              <a:avLst/>
              <a:gdLst>
                <a:gd name="T0" fmla="*/ 7 w 39"/>
                <a:gd name="T1" fmla="*/ 38 h 38"/>
                <a:gd name="T2" fmla="*/ 11 w 39"/>
                <a:gd name="T3" fmla="*/ 37 h 38"/>
                <a:gd name="T4" fmla="*/ 36 w 39"/>
                <a:gd name="T5" fmla="*/ 11 h 38"/>
                <a:gd name="T6" fmla="*/ 36 w 39"/>
                <a:gd name="T7" fmla="*/ 3 h 38"/>
                <a:gd name="T8" fmla="*/ 28 w 39"/>
                <a:gd name="T9" fmla="*/ 3 h 38"/>
                <a:gd name="T10" fmla="*/ 2 w 39"/>
                <a:gd name="T11" fmla="*/ 28 h 38"/>
                <a:gd name="T12" fmla="*/ 2 w 39"/>
                <a:gd name="T13" fmla="*/ 37 h 38"/>
                <a:gd name="T14" fmla="*/ 7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7" y="38"/>
                  </a:moveTo>
                  <a:cubicBezTo>
                    <a:pt x="8" y="38"/>
                    <a:pt x="10" y="38"/>
                    <a:pt x="11" y="37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9"/>
                    <a:pt x="39" y="5"/>
                    <a:pt x="36" y="3"/>
                  </a:cubicBezTo>
                  <a:cubicBezTo>
                    <a:pt x="34" y="0"/>
                    <a:pt x="30" y="0"/>
                    <a:pt x="28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8"/>
                    <a:pt x="5" y="38"/>
                    <a:pt x="7" y="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933041EA-9243-4114-9CCC-8C1B9591CFC1}"/>
              </a:ext>
            </a:extLst>
          </p:cNvPr>
          <p:cNvSpPr txBox="1">
            <a:spLocks/>
          </p:cNvSpPr>
          <p:nvPr userDrawn="1"/>
        </p:nvSpPr>
        <p:spPr>
          <a:xfrm>
            <a:off x="9682733" y="5887248"/>
            <a:ext cx="219679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2"/>
                </a:solidFill>
              </a:rPr>
              <a:t>Languages</a:t>
            </a:r>
          </a:p>
        </p:txBody>
      </p:sp>
      <p:sp>
        <p:nvSpPr>
          <p:cNvPr id="52" name="Freeform 89">
            <a:extLst>
              <a:ext uri="{FF2B5EF4-FFF2-40B4-BE49-F238E27FC236}">
                <a16:creationId xmlns:a16="http://schemas.microsoft.com/office/drawing/2014/main" id="{3E0E9A3A-1B55-418B-B993-1C65A1DD6C9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318492" y="5957858"/>
            <a:ext cx="274320" cy="229244"/>
          </a:xfrm>
          <a:custGeom>
            <a:avLst/>
            <a:gdLst>
              <a:gd name="T0" fmla="*/ 108 w 288"/>
              <a:gd name="T1" fmla="*/ 240 h 240"/>
              <a:gd name="T2" fmla="*/ 105 w 288"/>
              <a:gd name="T3" fmla="*/ 240 h 240"/>
              <a:gd name="T4" fmla="*/ 102 w 288"/>
              <a:gd name="T5" fmla="*/ 234 h 240"/>
              <a:gd name="T6" fmla="*/ 102 w 288"/>
              <a:gd name="T7" fmla="*/ 192 h 240"/>
              <a:gd name="T8" fmla="*/ 96 w 288"/>
              <a:gd name="T9" fmla="*/ 192 h 240"/>
              <a:gd name="T10" fmla="*/ 0 w 288"/>
              <a:gd name="T11" fmla="*/ 96 h 240"/>
              <a:gd name="T12" fmla="*/ 96 w 288"/>
              <a:gd name="T13" fmla="*/ 0 h 240"/>
              <a:gd name="T14" fmla="*/ 192 w 288"/>
              <a:gd name="T15" fmla="*/ 0 h 240"/>
              <a:gd name="T16" fmla="*/ 288 w 288"/>
              <a:gd name="T17" fmla="*/ 96 h 240"/>
              <a:gd name="T18" fmla="*/ 192 w 288"/>
              <a:gd name="T19" fmla="*/ 192 h 240"/>
              <a:gd name="T20" fmla="*/ 158 w 288"/>
              <a:gd name="T21" fmla="*/ 192 h 240"/>
              <a:gd name="T22" fmla="*/ 112 w 288"/>
              <a:gd name="T23" fmla="*/ 238 h 240"/>
              <a:gd name="T24" fmla="*/ 108 w 288"/>
              <a:gd name="T25" fmla="*/ 240 h 240"/>
              <a:gd name="T26" fmla="*/ 96 w 288"/>
              <a:gd name="T27" fmla="*/ 12 h 240"/>
              <a:gd name="T28" fmla="*/ 12 w 288"/>
              <a:gd name="T29" fmla="*/ 96 h 240"/>
              <a:gd name="T30" fmla="*/ 96 w 288"/>
              <a:gd name="T31" fmla="*/ 180 h 240"/>
              <a:gd name="T32" fmla="*/ 108 w 288"/>
              <a:gd name="T33" fmla="*/ 180 h 240"/>
              <a:gd name="T34" fmla="*/ 114 w 288"/>
              <a:gd name="T35" fmla="*/ 186 h 240"/>
              <a:gd name="T36" fmla="*/ 114 w 288"/>
              <a:gd name="T37" fmla="*/ 220 h 240"/>
              <a:gd name="T38" fmla="*/ 151 w 288"/>
              <a:gd name="T39" fmla="*/ 182 h 240"/>
              <a:gd name="T40" fmla="*/ 156 w 288"/>
              <a:gd name="T41" fmla="*/ 180 h 240"/>
              <a:gd name="T42" fmla="*/ 192 w 288"/>
              <a:gd name="T43" fmla="*/ 180 h 240"/>
              <a:gd name="T44" fmla="*/ 276 w 288"/>
              <a:gd name="T45" fmla="*/ 96 h 240"/>
              <a:gd name="T46" fmla="*/ 192 w 288"/>
              <a:gd name="T47" fmla="*/ 12 h 240"/>
              <a:gd name="T48" fmla="*/ 96 w 288"/>
              <a:gd name="T49" fmla="*/ 1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88" h="240">
                <a:moveTo>
                  <a:pt x="108" y="240"/>
                </a:moveTo>
                <a:cubicBezTo>
                  <a:pt x="107" y="240"/>
                  <a:pt x="106" y="240"/>
                  <a:pt x="105" y="240"/>
                </a:cubicBezTo>
                <a:cubicBezTo>
                  <a:pt x="103" y="239"/>
                  <a:pt x="102" y="237"/>
                  <a:pt x="102" y="234"/>
                </a:cubicBezTo>
                <a:cubicBezTo>
                  <a:pt x="102" y="192"/>
                  <a:pt x="102" y="192"/>
                  <a:pt x="102" y="192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43" y="192"/>
                  <a:pt x="0" y="149"/>
                  <a:pt x="0" y="96"/>
                </a:cubicBezTo>
                <a:cubicBezTo>
                  <a:pt x="0" y="43"/>
                  <a:pt x="43" y="0"/>
                  <a:pt x="96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245" y="0"/>
                  <a:pt x="288" y="43"/>
                  <a:pt x="288" y="96"/>
                </a:cubicBezTo>
                <a:cubicBezTo>
                  <a:pt x="288" y="149"/>
                  <a:pt x="245" y="192"/>
                  <a:pt x="192" y="192"/>
                </a:cubicBezTo>
                <a:cubicBezTo>
                  <a:pt x="158" y="192"/>
                  <a:pt x="158" y="192"/>
                  <a:pt x="158" y="192"/>
                </a:cubicBezTo>
                <a:cubicBezTo>
                  <a:pt x="112" y="238"/>
                  <a:pt x="112" y="238"/>
                  <a:pt x="112" y="238"/>
                </a:cubicBezTo>
                <a:cubicBezTo>
                  <a:pt x="111" y="240"/>
                  <a:pt x="109" y="240"/>
                  <a:pt x="108" y="240"/>
                </a:cubicBezTo>
                <a:close/>
                <a:moveTo>
                  <a:pt x="96" y="12"/>
                </a:moveTo>
                <a:cubicBezTo>
                  <a:pt x="49" y="12"/>
                  <a:pt x="12" y="50"/>
                  <a:pt x="12" y="96"/>
                </a:cubicBezTo>
                <a:cubicBezTo>
                  <a:pt x="12" y="143"/>
                  <a:pt x="49" y="180"/>
                  <a:pt x="96" y="180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11" y="180"/>
                  <a:pt x="114" y="183"/>
                  <a:pt x="114" y="186"/>
                </a:cubicBezTo>
                <a:cubicBezTo>
                  <a:pt x="114" y="220"/>
                  <a:pt x="114" y="220"/>
                  <a:pt x="114" y="220"/>
                </a:cubicBezTo>
                <a:cubicBezTo>
                  <a:pt x="151" y="182"/>
                  <a:pt x="151" y="182"/>
                  <a:pt x="151" y="182"/>
                </a:cubicBezTo>
                <a:cubicBezTo>
                  <a:pt x="153" y="181"/>
                  <a:pt x="154" y="180"/>
                  <a:pt x="156" y="18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38" y="180"/>
                  <a:pt x="276" y="143"/>
                  <a:pt x="276" y="96"/>
                </a:cubicBezTo>
                <a:cubicBezTo>
                  <a:pt x="276" y="50"/>
                  <a:pt x="238" y="12"/>
                  <a:pt x="192" y="12"/>
                </a:cubicBezTo>
                <a:lnTo>
                  <a:pt x="96" y="1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cs typeface="Arial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2DEBC84-A7A5-49C9-9B83-0F8C04478C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266162" y="5857528"/>
            <a:ext cx="265176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F2679A-F6D2-4AC0-8A88-3A0DE38E255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208" y="1907471"/>
            <a:ext cx="2664000" cy="1106487"/>
          </a:xfrm>
        </p:spPr>
        <p:txBody>
          <a:bodyPr lIns="54000" tIns="36000" rIns="36000" bIns="36000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E25DF8B9-F230-475A-A2C2-4B765CB5360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15208" y="3728194"/>
            <a:ext cx="2664000" cy="1106487"/>
          </a:xfrm>
        </p:spPr>
        <p:txBody>
          <a:bodyPr lIns="54000" tIns="36000" rIns="36000" bIns="36000"/>
          <a:lstStyle>
            <a:lvl1pPr marL="0" inden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33C84085-71E8-457D-8C9C-350F5A46CC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15208" y="6254254"/>
            <a:ext cx="2664000" cy="252000"/>
          </a:xfrm>
        </p:spPr>
        <p:txBody>
          <a:bodyPr lIns="54000" tIns="36000" rIns="36000" bIns="36000"/>
          <a:lstStyle>
            <a:lvl1pPr marL="0" inden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11665D1-E656-413D-8788-0176DAD132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32107" y="1861782"/>
            <a:ext cx="6282000" cy="4488298"/>
          </a:xfrm>
        </p:spPr>
        <p:txBody>
          <a:bodyPr lIns="54000" tIns="36000" rIns="36000" bIns="36000" numCol="2" spcCol="25200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8703097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6">
            <a:extLst>
              <a:ext uri="{FF2B5EF4-FFF2-40B4-BE49-F238E27FC236}">
                <a16:creationId xmlns:a16="http://schemas.microsoft.com/office/drawing/2014/main" id="{45825148-DE3C-46D4-B4AE-FF54FE310F76}"/>
              </a:ext>
            </a:extLst>
          </p:cNvPr>
          <p:cNvSpPr txBox="1"/>
          <p:nvPr userDrawn="1"/>
        </p:nvSpPr>
        <p:spPr>
          <a:xfrm>
            <a:off x="8768912" y="6671898"/>
            <a:ext cx="2854129" cy="205121"/>
          </a:xfrm>
          <a:prstGeom prst="rect">
            <a:avLst/>
          </a:prstGeom>
          <a:noFill/>
        </p:spPr>
        <p:txBody>
          <a:bodyPr wrap="square" lIns="0" tIns="0" rIns="0" bIns="60960" rtlCol="0" anchor="t">
            <a:spAutoFit/>
          </a:bodyPr>
          <a:lstStyle/>
          <a:p>
            <a:pPr algn="r"/>
            <a:r>
              <a:rPr lang="en-US" sz="800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rPr>
              <a:t>Copyright © 2020 Accenture. All rights reserved</a:t>
            </a:r>
            <a:r>
              <a:rPr lang="en-US" sz="933" b="0" i="0" kern="120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rPr>
              <a:t>. </a:t>
            </a:r>
            <a:endParaRPr lang="de-DE" sz="933" b="0" i="0" u="none" kern="1200">
              <a:solidFill>
                <a:schemeClr val="tx1"/>
              </a:solidFill>
              <a:latin typeface="Graphik" panose="020B0503030202060203" pitchFamily="34" charset="77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088FD9-FDA0-4E90-8BF8-389225E6AA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016" y="302018"/>
            <a:ext cx="2210024" cy="157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3269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kt 52" hidden="1">
            <a:extLst>
              <a:ext uri="{FF2B5EF4-FFF2-40B4-BE49-F238E27FC236}">
                <a16:creationId xmlns:a16="http://schemas.microsoft.com/office/drawing/2014/main" id="{CF42FC06-E2E4-4718-872A-D53B324D7B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6061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3" name="Objekt 52" hidden="1">
                        <a:extLst>
                          <a:ext uri="{FF2B5EF4-FFF2-40B4-BE49-F238E27FC236}">
                            <a16:creationId xmlns:a16="http://schemas.microsoft.com/office/drawing/2014/main" id="{CF42FC06-E2E4-4718-872A-D53B324D7B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Grafik 50" descr="Ein Bild, das Himmel, draußen, Person, bewölkt enthält.&#10;&#10;Automatisch generierte Beschreibung">
            <a:extLst>
              <a:ext uri="{FF2B5EF4-FFF2-40B4-BE49-F238E27FC236}">
                <a16:creationId xmlns:a16="http://schemas.microsoft.com/office/drawing/2014/main" id="{69C25040-7711-493C-AF68-9F0FC61FBBE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vert="horz"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D7B63E-E6E1-481B-936E-CE344FE52C2F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2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A5CD6-870E-4AEB-ABEE-5BC1AF19C661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>
            <a:spLocks/>
          </p:cNvSpPr>
          <p:nvPr userDrawn="1"/>
        </p:nvSpPr>
        <p:spPr>
          <a:xfrm>
            <a:off x="0" y="-480412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Solid fill &gt; Change to Dark Purple (Accent 3), Mid Purple (Accent 2) or Core Purple (Accent 1)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cxnSp>
        <p:nvCxnSpPr>
          <p:cNvPr id="8" name="Straight Connector 41">
            <a:extLst>
              <a:ext uri="{FF2B5EF4-FFF2-40B4-BE49-F238E27FC236}">
                <a16:creationId xmlns:a16="http://schemas.microsoft.com/office/drawing/2014/main" id="{58B62990-9180-4BAE-AE46-7CE08E3DFB9D}"/>
              </a:ext>
            </a:extLst>
          </p:cNvPr>
          <p:cNvCxnSpPr/>
          <p:nvPr userDrawn="1"/>
        </p:nvCxnSpPr>
        <p:spPr>
          <a:xfrm>
            <a:off x="-252640" y="1380044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3F9EA11E-EE24-4E71-9A80-0E40835188B0}"/>
              </a:ext>
            </a:extLst>
          </p:cNvPr>
          <p:cNvCxnSpPr/>
          <p:nvPr userDrawn="1"/>
        </p:nvCxnSpPr>
        <p:spPr>
          <a:xfrm>
            <a:off x="-252640" y="1662728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51">
            <a:extLst>
              <a:ext uri="{FF2B5EF4-FFF2-40B4-BE49-F238E27FC236}">
                <a16:creationId xmlns:a16="http://schemas.microsoft.com/office/drawing/2014/main" id="{970B292E-D0C9-44EC-9014-4419AF05ED27}"/>
              </a:ext>
            </a:extLst>
          </p:cNvPr>
          <p:cNvSpPr txBox="1"/>
          <p:nvPr userDrawn="1"/>
        </p:nvSpPr>
        <p:spPr>
          <a:xfrm>
            <a:off x="-2102745" y="1549691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11" name="TextBox 52">
            <a:extLst>
              <a:ext uri="{FF2B5EF4-FFF2-40B4-BE49-F238E27FC236}">
                <a16:creationId xmlns:a16="http://schemas.microsoft.com/office/drawing/2014/main" id="{354411A6-92A4-4A68-A6D6-69D863F3D97A}"/>
              </a:ext>
            </a:extLst>
          </p:cNvPr>
          <p:cNvSpPr txBox="1"/>
          <p:nvPr userDrawn="1"/>
        </p:nvSpPr>
        <p:spPr>
          <a:xfrm>
            <a:off x="-2099880" y="30840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12" name="Straight Connector 53">
            <a:extLst>
              <a:ext uri="{FF2B5EF4-FFF2-40B4-BE49-F238E27FC236}">
                <a16:creationId xmlns:a16="http://schemas.microsoft.com/office/drawing/2014/main" id="{1EB72874-8451-4B0B-B966-39D7B2A90354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8328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4">
            <a:extLst>
              <a:ext uri="{FF2B5EF4-FFF2-40B4-BE49-F238E27FC236}">
                <a16:creationId xmlns:a16="http://schemas.microsoft.com/office/drawing/2014/main" id="{F9DFD633-D081-4345-AA77-8C01C7B9FD3F}"/>
              </a:ext>
            </a:extLst>
          </p:cNvPr>
          <p:cNvSpPr txBox="1">
            <a:spLocks/>
          </p:cNvSpPr>
          <p:nvPr userDrawn="1"/>
        </p:nvSpPr>
        <p:spPr>
          <a:xfrm>
            <a:off x="-1859880" y="310259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3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0FF208EB-193A-4B29-9735-26F56C2EC258}"/>
              </a:ext>
            </a:extLst>
          </p:cNvPr>
          <p:cNvSpPr/>
          <p:nvPr userDrawn="1"/>
        </p:nvSpPr>
        <p:spPr bwMode="gray">
          <a:xfrm>
            <a:off x="-324720" y="31025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TextBox 56">
            <a:extLst>
              <a:ext uri="{FF2B5EF4-FFF2-40B4-BE49-F238E27FC236}">
                <a16:creationId xmlns:a16="http://schemas.microsoft.com/office/drawing/2014/main" id="{8D0C5B19-5D49-47B6-97EE-DE4257B480FB}"/>
              </a:ext>
            </a:extLst>
          </p:cNvPr>
          <p:cNvSpPr txBox="1">
            <a:spLocks/>
          </p:cNvSpPr>
          <p:nvPr userDrawn="1"/>
        </p:nvSpPr>
        <p:spPr>
          <a:xfrm>
            <a:off x="-1859880" y="2673934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1</a:t>
            </a: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B009A2B0-FA39-418A-BE69-F234CDB06605}"/>
              </a:ext>
            </a:extLst>
          </p:cNvPr>
          <p:cNvSpPr/>
          <p:nvPr userDrawn="1"/>
        </p:nvSpPr>
        <p:spPr bwMode="gray">
          <a:xfrm>
            <a:off x="-324720" y="2673934"/>
            <a:ext cx="180000" cy="180000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srgbClr val="BEBEBE">
                  <a:lumMod val="100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0040C602-AA4E-41C4-800A-0ABF6F830BA3}"/>
              </a:ext>
            </a:extLst>
          </p:cNvPr>
          <p:cNvSpPr/>
          <p:nvPr userDrawn="1"/>
        </p:nvSpPr>
        <p:spPr bwMode="gray">
          <a:xfrm>
            <a:off x="-324720" y="28882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id="{1AA5130B-9D88-4154-9F50-271A53BF1A96}"/>
              </a:ext>
            </a:extLst>
          </p:cNvPr>
          <p:cNvSpPr txBox="1">
            <a:spLocks/>
          </p:cNvSpPr>
          <p:nvPr userDrawn="1"/>
        </p:nvSpPr>
        <p:spPr>
          <a:xfrm>
            <a:off x="-1859880" y="288826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imary color 2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id="{55A94336-3C54-442D-9B94-96874F0C1C98}"/>
              </a:ext>
            </a:extLst>
          </p:cNvPr>
          <p:cNvSpPr txBox="1"/>
          <p:nvPr userDrawn="1"/>
        </p:nvSpPr>
        <p:spPr>
          <a:xfrm>
            <a:off x="-1859880" y="58199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D4D526DD-DF69-4571-8B7C-FD61657A834B}"/>
              </a:ext>
            </a:extLst>
          </p:cNvPr>
          <p:cNvSpPr/>
          <p:nvPr userDrawn="1"/>
        </p:nvSpPr>
        <p:spPr bwMode="gray">
          <a:xfrm>
            <a:off x="-324720" y="5819903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1" name="Rectangle 68">
            <a:extLst>
              <a:ext uri="{FF2B5EF4-FFF2-40B4-BE49-F238E27FC236}">
                <a16:creationId xmlns:a16="http://schemas.microsoft.com/office/drawing/2014/main" id="{E5C03225-120E-4145-932C-860490DC42FD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4962578"/>
            <a:ext cx="180000" cy="18000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Box 69">
            <a:extLst>
              <a:ext uri="{FF2B5EF4-FFF2-40B4-BE49-F238E27FC236}">
                <a16:creationId xmlns:a16="http://schemas.microsoft.com/office/drawing/2014/main" id="{6AF6D1BF-95E0-48CA-8D63-78CB8664C37E}"/>
              </a:ext>
            </a:extLst>
          </p:cNvPr>
          <p:cNvSpPr txBox="1">
            <a:spLocks/>
          </p:cNvSpPr>
          <p:nvPr userDrawn="1"/>
        </p:nvSpPr>
        <p:spPr>
          <a:xfrm>
            <a:off x="-1859880" y="4962575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23" name="TextBox 70">
            <a:extLst>
              <a:ext uri="{FF2B5EF4-FFF2-40B4-BE49-F238E27FC236}">
                <a16:creationId xmlns:a16="http://schemas.microsoft.com/office/drawing/2014/main" id="{23B30447-FA4B-4FAD-A1ED-93B1BFA75F95}"/>
              </a:ext>
            </a:extLst>
          </p:cNvPr>
          <p:cNvSpPr txBox="1"/>
          <p:nvPr userDrawn="1"/>
        </p:nvSpPr>
        <p:spPr>
          <a:xfrm>
            <a:off x="-2099880" y="1302877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b-Headline Line</a:t>
            </a:r>
          </a:p>
        </p:txBody>
      </p:sp>
      <p:cxnSp>
        <p:nvCxnSpPr>
          <p:cNvPr id="24" name="Straight Connector 71">
            <a:extLst>
              <a:ext uri="{FF2B5EF4-FFF2-40B4-BE49-F238E27FC236}">
                <a16:creationId xmlns:a16="http://schemas.microsoft.com/office/drawing/2014/main" id="{2265AC62-808D-41DA-B540-3E48DF3128E2}"/>
              </a:ext>
            </a:extLst>
          </p:cNvPr>
          <p:cNvCxnSpPr/>
          <p:nvPr userDrawn="1"/>
        </p:nvCxnSpPr>
        <p:spPr>
          <a:xfrm>
            <a:off x="-272960" y="6275072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54">
            <a:extLst>
              <a:ext uri="{FF2B5EF4-FFF2-40B4-BE49-F238E27FC236}">
                <a16:creationId xmlns:a16="http://schemas.microsoft.com/office/drawing/2014/main" id="{AFCBBC7F-F5E0-4A94-A5A4-6D0E3BCF1F34}"/>
              </a:ext>
            </a:extLst>
          </p:cNvPr>
          <p:cNvSpPr txBox="1">
            <a:spLocks/>
          </p:cNvSpPr>
          <p:nvPr userDrawn="1"/>
        </p:nvSpPr>
        <p:spPr>
          <a:xfrm>
            <a:off x="-1259880" y="397262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26" name="Rectangle 55">
            <a:extLst>
              <a:ext uri="{FF2B5EF4-FFF2-40B4-BE49-F238E27FC236}">
                <a16:creationId xmlns:a16="http://schemas.microsoft.com/office/drawing/2014/main" id="{EC018FE7-07F0-40F5-A094-013312027531}"/>
              </a:ext>
            </a:extLst>
          </p:cNvPr>
          <p:cNvSpPr/>
          <p:nvPr userDrawn="1"/>
        </p:nvSpPr>
        <p:spPr bwMode="gray">
          <a:xfrm>
            <a:off x="-324884" y="3972625"/>
            <a:ext cx="180000" cy="180000"/>
          </a:xfrm>
          <a:prstGeom prst="rect">
            <a:avLst/>
          </a:prstGeom>
          <a:solidFill>
            <a:srgbClr val="BE82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7" name="TextBox 56">
            <a:extLst>
              <a:ext uri="{FF2B5EF4-FFF2-40B4-BE49-F238E27FC236}">
                <a16:creationId xmlns:a16="http://schemas.microsoft.com/office/drawing/2014/main" id="{4C8FA51D-EAE0-4EE9-A069-6AD2A027993E}"/>
              </a:ext>
            </a:extLst>
          </p:cNvPr>
          <p:cNvSpPr txBox="1">
            <a:spLocks/>
          </p:cNvSpPr>
          <p:nvPr userDrawn="1"/>
        </p:nvSpPr>
        <p:spPr>
          <a:xfrm>
            <a:off x="-1259880" y="353580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0830AD99-08A8-416B-9EB0-C45173D03134}"/>
              </a:ext>
            </a:extLst>
          </p:cNvPr>
          <p:cNvSpPr/>
          <p:nvPr userDrawn="1"/>
        </p:nvSpPr>
        <p:spPr bwMode="gray">
          <a:xfrm>
            <a:off x="-324884" y="3535805"/>
            <a:ext cx="180000" cy="180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29" name="Rectangle 58">
            <a:extLst>
              <a:ext uri="{FF2B5EF4-FFF2-40B4-BE49-F238E27FC236}">
                <a16:creationId xmlns:a16="http://schemas.microsoft.com/office/drawing/2014/main" id="{7351D2BD-3FC1-4FAF-95DD-404EF22C4307}"/>
              </a:ext>
            </a:extLst>
          </p:cNvPr>
          <p:cNvSpPr/>
          <p:nvPr userDrawn="1"/>
        </p:nvSpPr>
        <p:spPr bwMode="gray">
          <a:xfrm>
            <a:off x="-324884" y="3754215"/>
            <a:ext cx="180000" cy="180000"/>
          </a:xfrm>
          <a:prstGeom prst="rect">
            <a:avLst/>
          </a:prstGeom>
          <a:solidFill>
            <a:srgbClr val="A055F5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5CF0D829-E7FA-4D9F-84F8-5E09B34FC309}"/>
              </a:ext>
            </a:extLst>
          </p:cNvPr>
          <p:cNvSpPr txBox="1">
            <a:spLocks/>
          </p:cNvSpPr>
          <p:nvPr userDrawn="1"/>
        </p:nvSpPr>
        <p:spPr>
          <a:xfrm>
            <a:off x="-1259880" y="3754215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31" name="Rectangle 66">
            <a:extLst>
              <a:ext uri="{FF2B5EF4-FFF2-40B4-BE49-F238E27FC236}">
                <a16:creationId xmlns:a16="http://schemas.microsoft.com/office/drawing/2014/main" id="{06267E1F-4013-4344-8B60-6F6BCF9C6355}"/>
              </a:ext>
            </a:extLst>
          </p:cNvPr>
          <p:cNvSpPr/>
          <p:nvPr userDrawn="1"/>
        </p:nvSpPr>
        <p:spPr bwMode="gray">
          <a:xfrm>
            <a:off x="-324720" y="5608521"/>
            <a:ext cx="180000" cy="18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2" name="TextBox 54">
            <a:extLst>
              <a:ext uri="{FF2B5EF4-FFF2-40B4-BE49-F238E27FC236}">
                <a16:creationId xmlns:a16="http://schemas.microsoft.com/office/drawing/2014/main" id="{4BAEB6AD-B1A8-4B8A-A58D-B039BF6CC7A7}"/>
              </a:ext>
            </a:extLst>
          </p:cNvPr>
          <p:cNvSpPr txBox="1"/>
          <p:nvPr userDrawn="1"/>
        </p:nvSpPr>
        <p:spPr>
          <a:xfrm>
            <a:off x="-863880" y="5608521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3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A19F8C75-6F5D-4FB3-899A-F6CDBAEEC55A}"/>
              </a:ext>
            </a:extLst>
          </p:cNvPr>
          <p:cNvSpPr/>
          <p:nvPr userDrawn="1"/>
        </p:nvSpPr>
        <p:spPr bwMode="gray">
          <a:xfrm>
            <a:off x="-324720" y="5183545"/>
            <a:ext cx="180000" cy="180000"/>
          </a:xfrm>
          <a:prstGeom prst="rect">
            <a:avLst/>
          </a:prstGeom>
          <a:solidFill>
            <a:srgbClr val="96968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4" name="TextBox 56">
            <a:extLst>
              <a:ext uri="{FF2B5EF4-FFF2-40B4-BE49-F238E27FC236}">
                <a16:creationId xmlns:a16="http://schemas.microsoft.com/office/drawing/2014/main" id="{085AFC88-7B85-41CA-89F2-D75A049E58DF}"/>
              </a:ext>
            </a:extLst>
          </p:cNvPr>
          <p:cNvSpPr txBox="1"/>
          <p:nvPr userDrawn="1"/>
        </p:nvSpPr>
        <p:spPr>
          <a:xfrm>
            <a:off x="-863880" y="5183545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1</a:t>
            </a:r>
          </a:p>
        </p:txBody>
      </p:sp>
      <p:sp>
        <p:nvSpPr>
          <p:cNvPr id="35" name="Rectangle 61">
            <a:extLst>
              <a:ext uri="{FF2B5EF4-FFF2-40B4-BE49-F238E27FC236}">
                <a16:creationId xmlns:a16="http://schemas.microsoft.com/office/drawing/2014/main" id="{F6EF2DC1-969E-4E8B-B7EB-23CFCDC2CBBB}"/>
              </a:ext>
            </a:extLst>
          </p:cNvPr>
          <p:cNvSpPr/>
          <p:nvPr userDrawn="1"/>
        </p:nvSpPr>
        <p:spPr bwMode="gray">
          <a:xfrm>
            <a:off x="-324884" y="5396033"/>
            <a:ext cx="180000" cy="180000"/>
          </a:xfrm>
          <a:prstGeom prst="rect">
            <a:avLst/>
          </a:prstGeom>
          <a:solidFill>
            <a:srgbClr val="E6E6DC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TextBox 59">
            <a:extLst>
              <a:ext uri="{FF2B5EF4-FFF2-40B4-BE49-F238E27FC236}">
                <a16:creationId xmlns:a16="http://schemas.microsoft.com/office/drawing/2014/main" id="{6F4BD4ED-1647-4580-8730-1CE8CFE7376F}"/>
              </a:ext>
            </a:extLst>
          </p:cNvPr>
          <p:cNvSpPr txBox="1"/>
          <p:nvPr userDrawn="1"/>
        </p:nvSpPr>
        <p:spPr>
          <a:xfrm>
            <a:off x="-863880" y="5396033"/>
            <a:ext cx="540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rey 2</a:t>
            </a:r>
          </a:p>
        </p:txBody>
      </p:sp>
      <p:sp>
        <p:nvSpPr>
          <p:cNvPr id="37" name="TextBox 73">
            <a:extLst>
              <a:ext uri="{FF2B5EF4-FFF2-40B4-BE49-F238E27FC236}">
                <a16:creationId xmlns:a16="http://schemas.microsoft.com/office/drawing/2014/main" id="{A75B4ED0-A73A-4FD8-AF83-81D90B46F58D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38" name="TextBox 74">
            <a:extLst>
              <a:ext uri="{FF2B5EF4-FFF2-40B4-BE49-F238E27FC236}">
                <a16:creationId xmlns:a16="http://schemas.microsoft.com/office/drawing/2014/main" id="{92D29D93-2DC2-4763-877F-9065E05735A6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39" name="TextBox 75">
            <a:extLst>
              <a:ext uri="{FF2B5EF4-FFF2-40B4-BE49-F238E27FC236}">
                <a16:creationId xmlns:a16="http://schemas.microsoft.com/office/drawing/2014/main" id="{C3E43EBF-6D15-4832-BA17-AD566CA313E6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40" name="Straight Connector 77">
            <a:extLst>
              <a:ext uri="{FF2B5EF4-FFF2-40B4-BE49-F238E27FC236}">
                <a16:creationId xmlns:a16="http://schemas.microsoft.com/office/drawing/2014/main" id="{8C39DF4D-6F73-4336-8003-53009ED35281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6">
            <a:extLst>
              <a:ext uri="{FF2B5EF4-FFF2-40B4-BE49-F238E27FC236}">
                <a16:creationId xmlns:a16="http://schemas.microsoft.com/office/drawing/2014/main" id="{7B4BFCCA-76D0-477C-858D-49759D77BC8C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70">
            <a:extLst>
              <a:ext uri="{FF2B5EF4-FFF2-40B4-BE49-F238E27FC236}">
                <a16:creationId xmlns:a16="http://schemas.microsoft.com/office/drawing/2014/main" id="{4FC49C0D-F237-43E2-A1DE-C1170B14C441}"/>
              </a:ext>
            </a:extLst>
          </p:cNvPr>
          <p:cNvSpPr txBox="1"/>
          <p:nvPr userDrawn="1"/>
        </p:nvSpPr>
        <p:spPr>
          <a:xfrm>
            <a:off x="-2099880" y="1018146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EA25C298-C7F1-40D7-9C77-EEBB44B25974}"/>
              </a:ext>
            </a:extLst>
          </p:cNvPr>
          <p:cNvCxnSpPr/>
          <p:nvPr userDrawn="1"/>
        </p:nvCxnSpPr>
        <p:spPr>
          <a:xfrm>
            <a:off x="-272960" y="6453190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1">
            <a:extLst>
              <a:ext uri="{FF2B5EF4-FFF2-40B4-BE49-F238E27FC236}">
                <a16:creationId xmlns:a16="http://schemas.microsoft.com/office/drawing/2014/main" id="{2B785839-9A42-4A90-9D35-50656EA191DB}"/>
              </a:ext>
            </a:extLst>
          </p:cNvPr>
          <p:cNvCxnSpPr/>
          <p:nvPr userDrawn="1"/>
        </p:nvCxnSpPr>
        <p:spPr>
          <a:xfrm>
            <a:off x="-252640" y="1087627"/>
            <a:ext cx="182880" cy="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54">
            <a:extLst>
              <a:ext uri="{FF2B5EF4-FFF2-40B4-BE49-F238E27FC236}">
                <a16:creationId xmlns:a16="http://schemas.microsoft.com/office/drawing/2014/main" id="{EC009B53-3160-48B9-A03C-84B63183FB76}"/>
              </a:ext>
            </a:extLst>
          </p:cNvPr>
          <p:cNvSpPr txBox="1">
            <a:spLocks/>
          </p:cNvSpPr>
          <p:nvPr userDrawn="1"/>
        </p:nvSpPr>
        <p:spPr>
          <a:xfrm>
            <a:off x="-1259880" y="4409443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5</a:t>
            </a:r>
          </a:p>
        </p:txBody>
      </p:sp>
      <p:sp>
        <p:nvSpPr>
          <p:cNvPr id="46" name="Rectangle 55">
            <a:extLst>
              <a:ext uri="{FF2B5EF4-FFF2-40B4-BE49-F238E27FC236}">
                <a16:creationId xmlns:a16="http://schemas.microsoft.com/office/drawing/2014/main" id="{9ED7FA91-05C1-4778-B5BC-5266E5302092}"/>
              </a:ext>
            </a:extLst>
          </p:cNvPr>
          <p:cNvSpPr/>
          <p:nvPr userDrawn="1"/>
        </p:nvSpPr>
        <p:spPr bwMode="gray">
          <a:xfrm>
            <a:off x="-324884" y="4409445"/>
            <a:ext cx="180000" cy="180000"/>
          </a:xfrm>
          <a:prstGeom prst="rect">
            <a:avLst/>
          </a:prstGeom>
          <a:solidFill>
            <a:srgbClr val="E6DC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7" name="Rectangle 58">
            <a:extLst>
              <a:ext uri="{FF2B5EF4-FFF2-40B4-BE49-F238E27FC236}">
                <a16:creationId xmlns:a16="http://schemas.microsoft.com/office/drawing/2014/main" id="{638AB988-F198-4439-BC31-44838B078D6D}"/>
              </a:ext>
            </a:extLst>
          </p:cNvPr>
          <p:cNvSpPr/>
          <p:nvPr userDrawn="1"/>
        </p:nvSpPr>
        <p:spPr bwMode="gray">
          <a:xfrm>
            <a:off x="-324884" y="4191035"/>
            <a:ext cx="180000" cy="180000"/>
          </a:xfrm>
          <a:prstGeom prst="rect">
            <a:avLst/>
          </a:prstGeom>
          <a:solidFill>
            <a:srgbClr val="DCA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</a:endParaRPr>
          </a:p>
        </p:txBody>
      </p:sp>
      <p:sp>
        <p:nvSpPr>
          <p:cNvPr id="48" name="TextBox 59">
            <a:extLst>
              <a:ext uri="{FF2B5EF4-FFF2-40B4-BE49-F238E27FC236}">
                <a16:creationId xmlns:a16="http://schemas.microsoft.com/office/drawing/2014/main" id="{FE468CD5-2A63-496B-BC7D-3397A681F1BB}"/>
              </a:ext>
            </a:extLst>
          </p:cNvPr>
          <p:cNvSpPr txBox="1">
            <a:spLocks/>
          </p:cNvSpPr>
          <p:nvPr userDrawn="1"/>
        </p:nvSpPr>
        <p:spPr>
          <a:xfrm>
            <a:off x="-1259880" y="4191034"/>
            <a:ext cx="9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4</a:t>
            </a:r>
          </a:p>
        </p:txBody>
      </p:sp>
      <p:cxnSp>
        <p:nvCxnSpPr>
          <p:cNvPr id="49" name="Straight Connector 77">
            <a:extLst>
              <a:ext uri="{FF2B5EF4-FFF2-40B4-BE49-F238E27FC236}">
                <a16:creationId xmlns:a16="http://schemas.microsoft.com/office/drawing/2014/main" id="{01888FDD-B8BA-4651-8614-921B231D596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07951" y="-195414"/>
            <a:ext cx="0" cy="180000"/>
          </a:xfrm>
          <a:prstGeom prst="line">
            <a:avLst/>
          </a:prstGeom>
          <a:ln w="3175">
            <a:solidFill>
              <a:schemeClr val="bg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72">
            <a:extLst>
              <a:ext uri="{FF2B5EF4-FFF2-40B4-BE49-F238E27FC236}">
                <a16:creationId xmlns:a16="http://schemas.microsoft.com/office/drawing/2014/main" id="{675DA513-531D-4462-B74C-BB419946C89E}"/>
              </a:ext>
            </a:extLst>
          </p:cNvPr>
          <p:cNvSpPr txBox="1"/>
          <p:nvPr userDrawn="1"/>
        </p:nvSpPr>
        <p:spPr>
          <a:xfrm>
            <a:off x="-2099880" y="620462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25534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V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ccenture Greater Than symbol in white">
            <a:extLst>
              <a:ext uri="{FF2B5EF4-FFF2-40B4-BE49-F238E27FC236}">
                <a16:creationId xmlns:a16="http://schemas.microsoft.com/office/drawing/2014/main" id="{9DEA0E7F-4F0B-4028-9DCD-1D5D599C5A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A100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1783987" y="6522601"/>
            <a:ext cx="191087" cy="2023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45D549-9B0D-43BF-B4D5-F60832335E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85" r="30397" b="31908"/>
          <a:stretch/>
        </p:blipFill>
        <p:spPr bwMode="invGray">
          <a:xfrm>
            <a:off x="1802" y="2620706"/>
            <a:ext cx="2640814" cy="4237293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B1727A3-A4C0-44D9-9D35-05D3DD38FFD6}"/>
              </a:ext>
            </a:extLst>
          </p:cNvPr>
          <p:cNvSpPr txBox="1">
            <a:spLocks/>
          </p:cNvSpPr>
          <p:nvPr userDrawn="1"/>
        </p:nvSpPr>
        <p:spPr>
          <a:xfrm>
            <a:off x="407840" y="2754154"/>
            <a:ext cx="219679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Roboto Medium" panose="02000000000000000000" pitchFamily="2" charset="0"/>
                <a:cs typeface="+mn-cs"/>
              </a:rPr>
              <a:t>About m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E828E6-CC30-4950-97D5-B5ED59078F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167" y="2801322"/>
            <a:ext cx="182880" cy="200133"/>
            <a:chOff x="873570" y="2923982"/>
            <a:chExt cx="308751" cy="337878"/>
          </a:xfrm>
        </p:grpSpPr>
        <p:sp>
          <p:nvSpPr>
            <p:cNvPr id="12" name="Freeform 165">
              <a:extLst>
                <a:ext uri="{FF2B5EF4-FFF2-40B4-BE49-F238E27FC236}">
                  <a16:creationId xmlns:a16="http://schemas.microsoft.com/office/drawing/2014/main" id="{0DB34C81-406B-4E6D-A240-8BB1827CE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4058" y="2923982"/>
              <a:ext cx="207776" cy="201951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  <p:sp>
          <p:nvSpPr>
            <p:cNvPr id="13" name="Freeform 166">
              <a:extLst>
                <a:ext uri="{FF2B5EF4-FFF2-40B4-BE49-F238E27FC236}">
                  <a16:creationId xmlns:a16="http://schemas.microsoft.com/office/drawing/2014/main" id="{219B28DA-9A70-467F-B269-500F4B753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570" y="3092921"/>
              <a:ext cx="308751" cy="16893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54 w 108"/>
                <a:gd name="T7" fmla="*/ 0 h 60"/>
                <a:gd name="T8" fmla="*/ 108 w 108"/>
                <a:gd name="T9" fmla="*/ 54 h 60"/>
                <a:gd name="T10" fmla="*/ 102 w 108"/>
                <a:gd name="T11" fmla="*/ 60 h 60"/>
                <a:gd name="T12" fmla="*/ 12 w 108"/>
                <a:gd name="T13" fmla="*/ 48 h 60"/>
                <a:gd name="T14" fmla="*/ 95 w 108"/>
                <a:gd name="T15" fmla="*/ 48 h 60"/>
                <a:gd name="T16" fmla="*/ 54 w 108"/>
                <a:gd name="T17" fmla="*/ 12 h 60"/>
                <a:gd name="T18" fmla="*/ 12 w 108"/>
                <a:gd name="T19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57"/>
                    <a:pt x="105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5" y="48"/>
                    <a:pt x="95" y="48"/>
                    <a:pt x="95" y="48"/>
                  </a:cubicBezTo>
                  <a:cubicBezTo>
                    <a:pt x="93" y="27"/>
                    <a:pt x="75" y="12"/>
                    <a:pt x="54" y="12"/>
                  </a:cubicBezTo>
                  <a:cubicBezTo>
                    <a:pt x="33" y="12"/>
                    <a:pt x="15" y="27"/>
                    <a:pt x="12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96968C"/>
                </a:solidFill>
                <a:latin typeface="Graphik"/>
                <a:cs typeface="Arial" charset="0"/>
              </a:endParaRPr>
            </a:p>
          </p:txBody>
        </p:sp>
      </p:grpSp>
      <p:grpSp>
        <p:nvGrpSpPr>
          <p:cNvPr id="14" name="Group 169">
            <a:extLst>
              <a:ext uri="{FF2B5EF4-FFF2-40B4-BE49-F238E27FC236}">
                <a16:creationId xmlns:a16="http://schemas.microsoft.com/office/drawing/2014/main" id="{CC4E72F0-3299-4EFE-B018-3B85E693F96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5167" y="4931606"/>
            <a:ext cx="274320" cy="283018"/>
            <a:chOff x="2605" y="3204"/>
            <a:chExt cx="410" cy="423"/>
          </a:xfrm>
          <a:solidFill>
            <a:srgbClr val="FFFFFF"/>
          </a:solidFill>
        </p:grpSpPr>
        <p:sp>
          <p:nvSpPr>
            <p:cNvPr id="15" name="Freeform 170">
              <a:extLst>
                <a:ext uri="{FF2B5EF4-FFF2-40B4-BE49-F238E27FC236}">
                  <a16:creationId xmlns:a16="http://schemas.microsoft.com/office/drawing/2014/main" id="{E08DD1DF-F9B9-4EA6-9B1B-6CF735874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" y="3378"/>
              <a:ext cx="214" cy="249"/>
            </a:xfrm>
            <a:custGeom>
              <a:avLst/>
              <a:gdLst>
                <a:gd name="T0" fmla="*/ 66 w 144"/>
                <a:gd name="T1" fmla="*/ 168 h 168"/>
                <a:gd name="T2" fmla="*/ 63 w 144"/>
                <a:gd name="T3" fmla="*/ 167 h 168"/>
                <a:gd name="T4" fmla="*/ 3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3 w 144"/>
                <a:gd name="T11" fmla="*/ 40 h 168"/>
                <a:gd name="T12" fmla="*/ 63 w 144"/>
                <a:gd name="T13" fmla="*/ 1 h 168"/>
                <a:gd name="T14" fmla="*/ 69 w 144"/>
                <a:gd name="T15" fmla="*/ 1 h 168"/>
                <a:gd name="T16" fmla="*/ 141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1 w 144"/>
                <a:gd name="T23" fmla="*/ 128 h 168"/>
                <a:gd name="T24" fmla="*/ 69 w 144"/>
                <a:gd name="T25" fmla="*/ 167 h 168"/>
                <a:gd name="T26" fmla="*/ 66 w 144"/>
                <a:gd name="T27" fmla="*/ 168 h 168"/>
                <a:gd name="T28" fmla="*/ 12 w 144"/>
                <a:gd name="T29" fmla="*/ 120 h 168"/>
                <a:gd name="T30" fmla="*/ 67 w 144"/>
                <a:gd name="T31" fmla="*/ 155 h 168"/>
                <a:gd name="T32" fmla="*/ 132 w 144"/>
                <a:gd name="T33" fmla="*/ 120 h 168"/>
                <a:gd name="T34" fmla="*/ 132 w 144"/>
                <a:gd name="T35" fmla="*/ 49 h 168"/>
                <a:gd name="T36" fmla="*/ 67 w 144"/>
                <a:gd name="T37" fmla="*/ 13 h 168"/>
                <a:gd name="T38" fmla="*/ 12 w 144"/>
                <a:gd name="T39" fmla="*/ 48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66" y="168"/>
                  </a:moveTo>
                  <a:cubicBezTo>
                    <a:pt x="65" y="168"/>
                    <a:pt x="64" y="168"/>
                    <a:pt x="63" y="167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1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1" y="41"/>
                    <a:pt x="3" y="4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5" y="0"/>
                    <a:pt x="67" y="0"/>
                    <a:pt x="69" y="1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1" y="128"/>
                  </a:cubicBezTo>
                  <a:cubicBezTo>
                    <a:pt x="69" y="167"/>
                    <a:pt x="69" y="167"/>
                    <a:pt x="69" y="167"/>
                  </a:cubicBezTo>
                  <a:cubicBezTo>
                    <a:pt x="68" y="168"/>
                    <a:pt x="67" y="168"/>
                    <a:pt x="66" y="168"/>
                  </a:cubicBezTo>
                  <a:close/>
                  <a:moveTo>
                    <a:pt x="12" y="120"/>
                  </a:moveTo>
                  <a:cubicBezTo>
                    <a:pt x="67" y="155"/>
                    <a:pt x="67" y="155"/>
                    <a:pt x="67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12" y="48"/>
                    <a:pt x="12" y="48"/>
                    <a:pt x="12" y="48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6" name="Freeform 171">
              <a:extLst>
                <a:ext uri="{FF2B5EF4-FFF2-40B4-BE49-F238E27FC236}">
                  <a16:creationId xmlns:a16="http://schemas.microsoft.com/office/drawing/2014/main" id="{33EE6036-27E8-4C43-A1FD-338A7402E5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" y="3378"/>
              <a:ext cx="214" cy="249"/>
            </a:xfrm>
            <a:custGeom>
              <a:avLst/>
              <a:gdLst>
                <a:gd name="T0" fmla="*/ 78 w 144"/>
                <a:gd name="T1" fmla="*/ 168 h 168"/>
                <a:gd name="T2" fmla="*/ 76 w 144"/>
                <a:gd name="T3" fmla="*/ 167 h 168"/>
                <a:gd name="T4" fmla="*/ 4 w 144"/>
                <a:gd name="T5" fmla="*/ 128 h 168"/>
                <a:gd name="T6" fmla="*/ 0 w 144"/>
                <a:gd name="T7" fmla="*/ 123 h 168"/>
                <a:gd name="T8" fmla="*/ 0 w 144"/>
                <a:gd name="T9" fmla="*/ 45 h 168"/>
                <a:gd name="T10" fmla="*/ 4 w 144"/>
                <a:gd name="T11" fmla="*/ 40 h 168"/>
                <a:gd name="T12" fmla="*/ 76 w 144"/>
                <a:gd name="T13" fmla="*/ 1 h 168"/>
                <a:gd name="T14" fmla="*/ 82 w 144"/>
                <a:gd name="T15" fmla="*/ 1 h 168"/>
                <a:gd name="T16" fmla="*/ 142 w 144"/>
                <a:gd name="T17" fmla="*/ 40 h 168"/>
                <a:gd name="T18" fmla="*/ 144 w 144"/>
                <a:gd name="T19" fmla="*/ 45 h 168"/>
                <a:gd name="T20" fmla="*/ 144 w 144"/>
                <a:gd name="T21" fmla="*/ 123 h 168"/>
                <a:gd name="T22" fmla="*/ 142 w 144"/>
                <a:gd name="T23" fmla="*/ 128 h 168"/>
                <a:gd name="T24" fmla="*/ 82 w 144"/>
                <a:gd name="T25" fmla="*/ 167 h 168"/>
                <a:gd name="T26" fmla="*/ 78 w 144"/>
                <a:gd name="T27" fmla="*/ 168 h 168"/>
                <a:gd name="T28" fmla="*/ 12 w 144"/>
                <a:gd name="T29" fmla="*/ 120 h 168"/>
                <a:gd name="T30" fmla="*/ 78 w 144"/>
                <a:gd name="T31" fmla="*/ 155 h 168"/>
                <a:gd name="T32" fmla="*/ 132 w 144"/>
                <a:gd name="T33" fmla="*/ 120 h 168"/>
                <a:gd name="T34" fmla="*/ 132 w 144"/>
                <a:gd name="T35" fmla="*/ 48 h 168"/>
                <a:gd name="T36" fmla="*/ 78 w 144"/>
                <a:gd name="T37" fmla="*/ 13 h 168"/>
                <a:gd name="T38" fmla="*/ 12 w 144"/>
                <a:gd name="T39" fmla="*/ 49 h 168"/>
                <a:gd name="T40" fmla="*/ 12 w 144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80" y="0"/>
                    <a:pt x="82" y="1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3" y="41"/>
                    <a:pt x="144" y="43"/>
                    <a:pt x="144" y="45"/>
                  </a:cubicBezTo>
                  <a:cubicBezTo>
                    <a:pt x="144" y="123"/>
                    <a:pt x="144" y="123"/>
                    <a:pt x="144" y="123"/>
                  </a:cubicBezTo>
                  <a:cubicBezTo>
                    <a:pt x="144" y="125"/>
                    <a:pt x="143" y="127"/>
                    <a:pt x="142" y="128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1" y="168"/>
                    <a:pt x="80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7" name="Freeform 172">
              <a:extLst>
                <a:ext uri="{FF2B5EF4-FFF2-40B4-BE49-F238E27FC236}">
                  <a16:creationId xmlns:a16="http://schemas.microsoft.com/office/drawing/2014/main" id="{2AAA9EE7-A458-4D41-8F96-C74AE9DC12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4" y="3204"/>
              <a:ext cx="232" cy="250"/>
            </a:xfrm>
            <a:custGeom>
              <a:avLst/>
              <a:gdLst>
                <a:gd name="T0" fmla="*/ 78 w 156"/>
                <a:gd name="T1" fmla="*/ 168 h 168"/>
                <a:gd name="T2" fmla="*/ 76 w 156"/>
                <a:gd name="T3" fmla="*/ 167 h 168"/>
                <a:gd name="T4" fmla="*/ 4 w 156"/>
                <a:gd name="T5" fmla="*/ 128 h 168"/>
                <a:gd name="T6" fmla="*/ 0 w 156"/>
                <a:gd name="T7" fmla="*/ 123 h 168"/>
                <a:gd name="T8" fmla="*/ 0 w 156"/>
                <a:gd name="T9" fmla="*/ 45 h 168"/>
                <a:gd name="T10" fmla="*/ 4 w 156"/>
                <a:gd name="T11" fmla="*/ 40 h 168"/>
                <a:gd name="T12" fmla="*/ 76 w 156"/>
                <a:gd name="T13" fmla="*/ 1 h 168"/>
                <a:gd name="T14" fmla="*/ 81 w 156"/>
                <a:gd name="T15" fmla="*/ 1 h 168"/>
                <a:gd name="T16" fmla="*/ 153 w 156"/>
                <a:gd name="T17" fmla="*/ 40 h 168"/>
                <a:gd name="T18" fmla="*/ 156 w 156"/>
                <a:gd name="T19" fmla="*/ 45 h 168"/>
                <a:gd name="T20" fmla="*/ 156 w 156"/>
                <a:gd name="T21" fmla="*/ 123 h 168"/>
                <a:gd name="T22" fmla="*/ 153 w 156"/>
                <a:gd name="T23" fmla="*/ 128 h 168"/>
                <a:gd name="T24" fmla="*/ 81 w 156"/>
                <a:gd name="T25" fmla="*/ 167 h 168"/>
                <a:gd name="T26" fmla="*/ 78 w 156"/>
                <a:gd name="T27" fmla="*/ 168 h 168"/>
                <a:gd name="T28" fmla="*/ 12 w 156"/>
                <a:gd name="T29" fmla="*/ 120 h 168"/>
                <a:gd name="T30" fmla="*/ 78 w 156"/>
                <a:gd name="T31" fmla="*/ 155 h 168"/>
                <a:gd name="T32" fmla="*/ 144 w 156"/>
                <a:gd name="T33" fmla="*/ 120 h 168"/>
                <a:gd name="T34" fmla="*/ 144 w 156"/>
                <a:gd name="T35" fmla="*/ 49 h 168"/>
                <a:gd name="T36" fmla="*/ 78 w 156"/>
                <a:gd name="T37" fmla="*/ 13 h 168"/>
                <a:gd name="T38" fmla="*/ 12 w 156"/>
                <a:gd name="T39" fmla="*/ 49 h 168"/>
                <a:gd name="T40" fmla="*/ 12 w 156"/>
                <a:gd name="T41" fmla="*/ 12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6" h="168">
                  <a:moveTo>
                    <a:pt x="78" y="168"/>
                  </a:moveTo>
                  <a:cubicBezTo>
                    <a:pt x="77" y="168"/>
                    <a:pt x="76" y="168"/>
                    <a:pt x="76" y="167"/>
                  </a:cubicBezTo>
                  <a:cubicBezTo>
                    <a:pt x="4" y="128"/>
                    <a:pt x="4" y="128"/>
                    <a:pt x="4" y="128"/>
                  </a:cubicBezTo>
                  <a:cubicBezTo>
                    <a:pt x="2" y="127"/>
                    <a:pt x="0" y="125"/>
                    <a:pt x="0" y="12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80" y="0"/>
                    <a:pt x="81" y="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5" y="41"/>
                    <a:pt x="156" y="43"/>
                    <a:pt x="156" y="45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5"/>
                    <a:pt x="155" y="127"/>
                    <a:pt x="153" y="12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80" y="168"/>
                    <a:pt x="79" y="168"/>
                    <a:pt x="78" y="168"/>
                  </a:cubicBezTo>
                  <a:close/>
                  <a:moveTo>
                    <a:pt x="12" y="120"/>
                  </a:moveTo>
                  <a:cubicBezTo>
                    <a:pt x="78" y="155"/>
                    <a:pt x="78" y="155"/>
                    <a:pt x="78" y="155"/>
                  </a:cubicBezTo>
                  <a:cubicBezTo>
                    <a:pt x="144" y="120"/>
                    <a:pt x="144" y="120"/>
                    <a:pt x="144" y="120"/>
                  </a:cubicBezTo>
                  <a:cubicBezTo>
                    <a:pt x="144" y="49"/>
                    <a:pt x="144" y="49"/>
                    <a:pt x="144" y="4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12" y="49"/>
                    <a:pt x="12" y="49"/>
                    <a:pt x="12" y="49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D1CA538A-F97A-485F-BA02-99CBBF3BE68C}"/>
              </a:ext>
            </a:extLst>
          </p:cNvPr>
          <p:cNvSpPr txBox="1">
            <a:spLocks/>
          </p:cNvSpPr>
          <p:nvPr userDrawn="1"/>
        </p:nvSpPr>
        <p:spPr>
          <a:xfrm>
            <a:off x="407840" y="4916970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>
                <a:solidFill>
                  <a:srgbClr val="FFFFFF"/>
                </a:solidFill>
                <a:latin typeface="Graphik"/>
              </a:rPr>
              <a:t>Industry experience</a:t>
            </a:r>
          </a:p>
        </p:txBody>
      </p:sp>
      <p:sp>
        <p:nvSpPr>
          <p:cNvPr id="19" name="Rechteck 5">
            <a:extLst>
              <a:ext uri="{FF2B5EF4-FFF2-40B4-BE49-F238E27FC236}">
                <a16:creationId xmlns:a16="http://schemas.microsoft.com/office/drawing/2014/main" id="{D1E7838B-6134-46EE-8E23-4302A047D69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2642616" y="1019706"/>
            <a:ext cx="9542241" cy="426864"/>
          </a:xfrm>
          <a:prstGeom prst="rect">
            <a:avLst/>
          </a:prstGeom>
          <a:pattFill prst="ltUpDiag">
            <a:fgClr>
              <a:srgbClr val="FFFFFF"/>
            </a:fgClr>
            <a:bgClr>
              <a:srgbClr val="E8ECEC"/>
            </a:bgClr>
          </a:patt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7759A8-84D9-4E83-A2DB-95B65584119E}"/>
              </a:ext>
            </a:extLst>
          </p:cNvPr>
          <p:cNvSpPr txBox="1"/>
          <p:nvPr userDrawn="1"/>
        </p:nvSpPr>
        <p:spPr>
          <a:xfrm>
            <a:off x="7970984" y="575354"/>
            <a:ext cx="4068000" cy="33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228600">
              <a:spcAft>
                <a:spcPts val="1200"/>
              </a:spcAft>
            </a:pPr>
            <a:r>
              <a:rPr lang="en-US" sz="2000">
                <a:solidFill>
                  <a:srgbClr val="000000"/>
                </a:solidFill>
                <a:latin typeface="Graphik"/>
              </a:rPr>
              <a:t>Accenture 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Data&amp;</a:t>
            </a:r>
            <a:r>
              <a:rPr lang="en-US" sz="2000">
                <a:solidFill>
                  <a:srgbClr val="000000"/>
                </a:solidFill>
                <a:latin typeface="Graphik"/>
              </a:rPr>
              <a:t>A</a:t>
            </a:r>
            <a:r>
              <a:rPr lang="pl-PL" sz="2000">
                <a:solidFill>
                  <a:srgbClr val="000000"/>
                </a:solidFill>
                <a:latin typeface="Graphik"/>
              </a:rPr>
              <a:t>I</a:t>
            </a:r>
            <a:endParaRPr lang="en-US" sz="2000">
              <a:solidFill>
                <a:srgbClr val="000000"/>
              </a:solidFill>
              <a:latin typeface="Graphik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2D55710-BEDC-4028-93A6-EA9177018FF7}"/>
              </a:ext>
            </a:extLst>
          </p:cNvPr>
          <p:cNvSpPr txBox="1">
            <a:spLocks/>
          </p:cNvSpPr>
          <p:nvPr userDrawn="1"/>
        </p:nvSpPr>
        <p:spPr>
          <a:xfrm>
            <a:off x="9682733" y="1556713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noProof="0">
                <a:solidFill>
                  <a:srgbClr val="7500C0"/>
                </a:solidFill>
                <a:latin typeface="Graphik"/>
              </a:rPr>
              <a:t>Education</a:t>
            </a:r>
          </a:p>
        </p:txBody>
      </p:sp>
      <p:grpSp>
        <p:nvGrpSpPr>
          <p:cNvPr id="22" name="Group 209">
            <a:extLst>
              <a:ext uri="{FF2B5EF4-FFF2-40B4-BE49-F238E27FC236}">
                <a16:creationId xmlns:a16="http://schemas.microsoft.com/office/drawing/2014/main" id="{BED3242A-6E79-48C6-A851-271F22DD82B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18492" y="1614364"/>
            <a:ext cx="274320" cy="268099"/>
            <a:chOff x="5687" y="662"/>
            <a:chExt cx="441" cy="431"/>
          </a:xfrm>
          <a:solidFill>
            <a:srgbClr val="7500C0"/>
          </a:solidFill>
        </p:grpSpPr>
        <p:sp>
          <p:nvSpPr>
            <p:cNvPr id="23" name="Freeform 210">
              <a:extLst>
                <a:ext uri="{FF2B5EF4-FFF2-40B4-BE49-F238E27FC236}">
                  <a16:creationId xmlns:a16="http://schemas.microsoft.com/office/drawing/2014/main" id="{C036DE7B-1825-4016-A4A1-2F39D4212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7" y="930"/>
              <a:ext cx="441" cy="163"/>
            </a:xfrm>
            <a:custGeom>
              <a:avLst/>
              <a:gdLst>
                <a:gd name="T0" fmla="*/ 282 w 288"/>
                <a:gd name="T1" fmla="*/ 109 h 109"/>
                <a:gd name="T2" fmla="*/ 6 w 288"/>
                <a:gd name="T3" fmla="*/ 109 h 109"/>
                <a:gd name="T4" fmla="*/ 0 w 288"/>
                <a:gd name="T5" fmla="*/ 103 h 109"/>
                <a:gd name="T6" fmla="*/ 0 w 288"/>
                <a:gd name="T7" fmla="*/ 73 h 109"/>
                <a:gd name="T8" fmla="*/ 35 w 288"/>
                <a:gd name="T9" fmla="*/ 22 h 109"/>
                <a:gd name="T10" fmla="*/ 36 w 288"/>
                <a:gd name="T11" fmla="*/ 22 h 109"/>
                <a:gd name="T12" fmla="*/ 112 w 288"/>
                <a:gd name="T13" fmla="*/ 1 h 109"/>
                <a:gd name="T14" fmla="*/ 119 w 288"/>
                <a:gd name="T15" fmla="*/ 5 h 109"/>
                <a:gd name="T16" fmla="*/ 115 w 288"/>
                <a:gd name="T17" fmla="*/ 13 h 109"/>
                <a:gd name="T18" fmla="*/ 39 w 288"/>
                <a:gd name="T19" fmla="*/ 34 h 109"/>
                <a:gd name="T20" fmla="*/ 12 w 288"/>
                <a:gd name="T21" fmla="*/ 73 h 109"/>
                <a:gd name="T22" fmla="*/ 12 w 288"/>
                <a:gd name="T23" fmla="*/ 97 h 109"/>
                <a:gd name="T24" fmla="*/ 276 w 288"/>
                <a:gd name="T25" fmla="*/ 97 h 109"/>
                <a:gd name="T26" fmla="*/ 276 w 288"/>
                <a:gd name="T27" fmla="*/ 73 h 109"/>
                <a:gd name="T28" fmla="*/ 249 w 288"/>
                <a:gd name="T29" fmla="*/ 34 h 109"/>
                <a:gd name="T30" fmla="*/ 173 w 288"/>
                <a:gd name="T31" fmla="*/ 13 h 109"/>
                <a:gd name="T32" fmla="*/ 169 w 288"/>
                <a:gd name="T33" fmla="*/ 5 h 109"/>
                <a:gd name="T34" fmla="*/ 176 w 288"/>
                <a:gd name="T35" fmla="*/ 1 h 109"/>
                <a:gd name="T36" fmla="*/ 253 w 288"/>
                <a:gd name="T37" fmla="*/ 22 h 109"/>
                <a:gd name="T38" fmla="*/ 253 w 288"/>
                <a:gd name="T39" fmla="*/ 22 h 109"/>
                <a:gd name="T40" fmla="*/ 288 w 288"/>
                <a:gd name="T41" fmla="*/ 73 h 109"/>
                <a:gd name="T42" fmla="*/ 288 w 288"/>
                <a:gd name="T43" fmla="*/ 103 h 109"/>
                <a:gd name="T44" fmla="*/ 282 w 288"/>
                <a:gd name="T4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8" h="109">
                  <a:moveTo>
                    <a:pt x="282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14" y="30"/>
                    <a:pt x="35" y="22"/>
                  </a:cubicBezTo>
                  <a:cubicBezTo>
                    <a:pt x="35" y="22"/>
                    <a:pt x="36" y="22"/>
                    <a:pt x="36" y="22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5" y="0"/>
                    <a:pt x="118" y="2"/>
                    <a:pt x="119" y="5"/>
                  </a:cubicBezTo>
                  <a:cubicBezTo>
                    <a:pt x="120" y="8"/>
                    <a:pt x="118" y="12"/>
                    <a:pt x="115" y="1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23" y="40"/>
                    <a:pt x="12" y="56"/>
                    <a:pt x="12" y="7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276" y="97"/>
                    <a:pt x="276" y="97"/>
                    <a:pt x="276" y="97"/>
                  </a:cubicBezTo>
                  <a:cubicBezTo>
                    <a:pt x="276" y="73"/>
                    <a:pt x="276" y="73"/>
                    <a:pt x="276" y="73"/>
                  </a:cubicBezTo>
                  <a:cubicBezTo>
                    <a:pt x="276" y="56"/>
                    <a:pt x="265" y="40"/>
                    <a:pt x="249" y="3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0" y="12"/>
                    <a:pt x="168" y="8"/>
                    <a:pt x="169" y="5"/>
                  </a:cubicBezTo>
                  <a:cubicBezTo>
                    <a:pt x="170" y="2"/>
                    <a:pt x="173" y="0"/>
                    <a:pt x="176" y="1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74" y="30"/>
                    <a:pt x="288" y="50"/>
                    <a:pt x="288" y="73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8" y="106"/>
                    <a:pt x="286" y="109"/>
                    <a:pt x="282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4" name="Freeform 211">
              <a:extLst>
                <a:ext uri="{FF2B5EF4-FFF2-40B4-BE49-F238E27FC236}">
                  <a16:creationId xmlns:a16="http://schemas.microsoft.com/office/drawing/2014/main" id="{E6793C43-D202-4501-849F-0E17B8AA4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3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  <a:gd name="T38" fmla="*/ 12 w 36"/>
                <a:gd name="T3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5" name="Freeform 212">
              <a:extLst>
                <a:ext uri="{FF2B5EF4-FFF2-40B4-BE49-F238E27FC236}">
                  <a16:creationId xmlns:a16="http://schemas.microsoft.com/office/drawing/2014/main" id="{F3A778EF-8185-445A-B5B9-107C127B8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6" name="Freeform 213">
              <a:extLst>
                <a:ext uri="{FF2B5EF4-FFF2-40B4-BE49-F238E27FC236}">
                  <a16:creationId xmlns:a16="http://schemas.microsoft.com/office/drawing/2014/main" id="{743A6F23-D66B-418F-B749-B29DF5228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" y="761"/>
              <a:ext cx="130" cy="206"/>
            </a:xfrm>
            <a:custGeom>
              <a:avLst/>
              <a:gdLst>
                <a:gd name="T0" fmla="*/ 79 w 85"/>
                <a:gd name="T1" fmla="*/ 138 h 138"/>
                <a:gd name="T2" fmla="*/ 13 w 85"/>
                <a:gd name="T3" fmla="*/ 77 h 138"/>
                <a:gd name="T4" fmla="*/ 0 w 85"/>
                <a:gd name="T5" fmla="*/ 54 h 138"/>
                <a:gd name="T6" fmla="*/ 13 w 85"/>
                <a:gd name="T7" fmla="*/ 31 h 138"/>
                <a:gd name="T8" fmla="*/ 13 w 85"/>
                <a:gd name="T9" fmla="*/ 6 h 138"/>
                <a:gd name="T10" fmla="*/ 19 w 85"/>
                <a:gd name="T11" fmla="*/ 0 h 138"/>
                <a:gd name="T12" fmla="*/ 25 w 85"/>
                <a:gd name="T13" fmla="*/ 6 h 138"/>
                <a:gd name="T14" fmla="*/ 25 w 85"/>
                <a:gd name="T15" fmla="*/ 36 h 138"/>
                <a:gd name="T16" fmla="*/ 19 w 85"/>
                <a:gd name="T17" fmla="*/ 42 h 138"/>
                <a:gd name="T18" fmla="*/ 12 w 85"/>
                <a:gd name="T19" fmla="*/ 54 h 138"/>
                <a:gd name="T20" fmla="*/ 19 w 85"/>
                <a:gd name="T21" fmla="*/ 66 h 138"/>
                <a:gd name="T22" fmla="*/ 25 w 85"/>
                <a:gd name="T23" fmla="*/ 72 h 138"/>
                <a:gd name="T24" fmla="*/ 79 w 85"/>
                <a:gd name="T25" fmla="*/ 126 h 138"/>
                <a:gd name="T26" fmla="*/ 85 w 85"/>
                <a:gd name="T27" fmla="*/ 132 h 138"/>
                <a:gd name="T28" fmla="*/ 79 w 85"/>
                <a:gd name="T2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8">
                  <a:moveTo>
                    <a:pt x="79" y="138"/>
                  </a:moveTo>
                  <a:cubicBezTo>
                    <a:pt x="60" y="138"/>
                    <a:pt x="17" y="114"/>
                    <a:pt x="13" y="77"/>
                  </a:cubicBezTo>
                  <a:cubicBezTo>
                    <a:pt x="5" y="74"/>
                    <a:pt x="0" y="65"/>
                    <a:pt x="0" y="54"/>
                  </a:cubicBezTo>
                  <a:cubicBezTo>
                    <a:pt x="0" y="43"/>
                    <a:pt x="5" y="34"/>
                    <a:pt x="13" y="3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"/>
                    <a:pt x="16" y="0"/>
                    <a:pt x="19" y="0"/>
                  </a:cubicBezTo>
                  <a:cubicBezTo>
                    <a:pt x="23" y="0"/>
                    <a:pt x="25" y="3"/>
                    <a:pt x="25" y="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9"/>
                    <a:pt x="23" y="42"/>
                    <a:pt x="19" y="42"/>
                  </a:cubicBezTo>
                  <a:cubicBezTo>
                    <a:pt x="13" y="42"/>
                    <a:pt x="12" y="50"/>
                    <a:pt x="12" y="54"/>
                  </a:cubicBezTo>
                  <a:cubicBezTo>
                    <a:pt x="12" y="58"/>
                    <a:pt x="13" y="66"/>
                    <a:pt x="19" y="66"/>
                  </a:cubicBezTo>
                  <a:cubicBezTo>
                    <a:pt x="23" y="66"/>
                    <a:pt x="25" y="69"/>
                    <a:pt x="25" y="72"/>
                  </a:cubicBezTo>
                  <a:cubicBezTo>
                    <a:pt x="25" y="103"/>
                    <a:pt x="63" y="126"/>
                    <a:pt x="79" y="126"/>
                  </a:cubicBezTo>
                  <a:cubicBezTo>
                    <a:pt x="83" y="126"/>
                    <a:pt x="85" y="129"/>
                    <a:pt x="85" y="132"/>
                  </a:cubicBezTo>
                  <a:cubicBezTo>
                    <a:pt x="85" y="135"/>
                    <a:pt x="83" y="138"/>
                    <a:pt x="79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7" name="Freeform 214">
              <a:extLst>
                <a:ext uri="{FF2B5EF4-FFF2-40B4-BE49-F238E27FC236}">
                  <a16:creationId xmlns:a16="http://schemas.microsoft.com/office/drawing/2014/main" id="{9DEB99C5-9375-45D6-9458-2191255BE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8" y="761"/>
              <a:ext cx="132" cy="206"/>
            </a:xfrm>
            <a:custGeom>
              <a:avLst/>
              <a:gdLst>
                <a:gd name="T0" fmla="*/ 6 w 86"/>
                <a:gd name="T1" fmla="*/ 138 h 138"/>
                <a:gd name="T2" fmla="*/ 0 w 86"/>
                <a:gd name="T3" fmla="*/ 132 h 138"/>
                <a:gd name="T4" fmla="*/ 6 w 86"/>
                <a:gd name="T5" fmla="*/ 126 h 138"/>
                <a:gd name="T6" fmla="*/ 60 w 86"/>
                <a:gd name="T7" fmla="*/ 72 h 138"/>
                <a:gd name="T8" fmla="*/ 66 w 86"/>
                <a:gd name="T9" fmla="*/ 66 h 138"/>
                <a:gd name="T10" fmla="*/ 71 w 86"/>
                <a:gd name="T11" fmla="*/ 63 h 138"/>
                <a:gd name="T12" fmla="*/ 74 w 86"/>
                <a:gd name="T13" fmla="*/ 54 h 138"/>
                <a:gd name="T14" fmla="*/ 66 w 86"/>
                <a:gd name="T15" fmla="*/ 42 h 138"/>
                <a:gd name="T16" fmla="*/ 60 w 86"/>
                <a:gd name="T17" fmla="*/ 36 h 138"/>
                <a:gd name="T18" fmla="*/ 60 w 86"/>
                <a:gd name="T19" fmla="*/ 6 h 138"/>
                <a:gd name="T20" fmla="*/ 66 w 86"/>
                <a:gd name="T21" fmla="*/ 0 h 138"/>
                <a:gd name="T22" fmla="*/ 72 w 86"/>
                <a:gd name="T23" fmla="*/ 6 h 138"/>
                <a:gd name="T24" fmla="*/ 72 w 86"/>
                <a:gd name="T25" fmla="*/ 31 h 138"/>
                <a:gd name="T26" fmla="*/ 86 w 86"/>
                <a:gd name="T27" fmla="*/ 54 h 138"/>
                <a:gd name="T28" fmla="*/ 81 w 86"/>
                <a:gd name="T29" fmla="*/ 70 h 138"/>
                <a:gd name="T30" fmla="*/ 72 w 86"/>
                <a:gd name="T31" fmla="*/ 77 h 138"/>
                <a:gd name="T32" fmla="*/ 6 w 86"/>
                <a:gd name="T33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138">
                  <a:moveTo>
                    <a:pt x="6" y="138"/>
                  </a:moveTo>
                  <a:cubicBezTo>
                    <a:pt x="3" y="138"/>
                    <a:pt x="0" y="135"/>
                    <a:pt x="0" y="132"/>
                  </a:cubicBezTo>
                  <a:cubicBezTo>
                    <a:pt x="0" y="129"/>
                    <a:pt x="3" y="126"/>
                    <a:pt x="6" y="126"/>
                  </a:cubicBezTo>
                  <a:cubicBezTo>
                    <a:pt x="22" y="126"/>
                    <a:pt x="60" y="103"/>
                    <a:pt x="60" y="72"/>
                  </a:cubicBezTo>
                  <a:cubicBezTo>
                    <a:pt x="60" y="69"/>
                    <a:pt x="63" y="66"/>
                    <a:pt x="66" y="66"/>
                  </a:cubicBezTo>
                  <a:cubicBezTo>
                    <a:pt x="68" y="66"/>
                    <a:pt x="70" y="66"/>
                    <a:pt x="71" y="63"/>
                  </a:cubicBezTo>
                  <a:cubicBezTo>
                    <a:pt x="73" y="61"/>
                    <a:pt x="74" y="57"/>
                    <a:pt x="74" y="54"/>
                  </a:cubicBezTo>
                  <a:cubicBezTo>
                    <a:pt x="74" y="50"/>
                    <a:pt x="72" y="42"/>
                    <a:pt x="66" y="42"/>
                  </a:cubicBezTo>
                  <a:cubicBezTo>
                    <a:pt x="63" y="42"/>
                    <a:pt x="60" y="39"/>
                    <a:pt x="60" y="3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80" y="34"/>
                    <a:pt x="86" y="43"/>
                    <a:pt x="86" y="54"/>
                  </a:cubicBezTo>
                  <a:cubicBezTo>
                    <a:pt x="86" y="60"/>
                    <a:pt x="84" y="65"/>
                    <a:pt x="81" y="70"/>
                  </a:cubicBezTo>
                  <a:cubicBezTo>
                    <a:pt x="79" y="73"/>
                    <a:pt x="76" y="76"/>
                    <a:pt x="72" y="77"/>
                  </a:cubicBezTo>
                  <a:cubicBezTo>
                    <a:pt x="68" y="114"/>
                    <a:pt x="25" y="138"/>
                    <a:pt x="6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8" name="Freeform 215">
              <a:extLst>
                <a:ext uri="{FF2B5EF4-FFF2-40B4-BE49-F238E27FC236}">
                  <a16:creationId xmlns:a16="http://schemas.microsoft.com/office/drawing/2014/main" id="{EF26BA72-EEA7-433D-B2D5-790D0B436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7" y="662"/>
              <a:ext cx="441" cy="90"/>
            </a:xfrm>
            <a:custGeom>
              <a:avLst/>
              <a:gdLst>
                <a:gd name="T0" fmla="*/ 144 w 288"/>
                <a:gd name="T1" fmla="*/ 60 h 60"/>
                <a:gd name="T2" fmla="*/ 143 w 288"/>
                <a:gd name="T3" fmla="*/ 60 h 60"/>
                <a:gd name="T4" fmla="*/ 5 w 288"/>
                <a:gd name="T5" fmla="*/ 36 h 60"/>
                <a:gd name="T6" fmla="*/ 0 w 288"/>
                <a:gd name="T7" fmla="*/ 30 h 60"/>
                <a:gd name="T8" fmla="*/ 5 w 288"/>
                <a:gd name="T9" fmla="*/ 24 h 60"/>
                <a:gd name="T10" fmla="*/ 143 w 288"/>
                <a:gd name="T11" fmla="*/ 0 h 60"/>
                <a:gd name="T12" fmla="*/ 145 w 288"/>
                <a:gd name="T13" fmla="*/ 0 h 60"/>
                <a:gd name="T14" fmla="*/ 283 w 288"/>
                <a:gd name="T15" fmla="*/ 24 h 60"/>
                <a:gd name="T16" fmla="*/ 288 w 288"/>
                <a:gd name="T17" fmla="*/ 30 h 60"/>
                <a:gd name="T18" fmla="*/ 283 w 288"/>
                <a:gd name="T19" fmla="*/ 36 h 60"/>
                <a:gd name="T20" fmla="*/ 145 w 288"/>
                <a:gd name="T21" fmla="*/ 60 h 60"/>
                <a:gd name="T22" fmla="*/ 144 w 288"/>
                <a:gd name="T23" fmla="*/ 60 h 60"/>
                <a:gd name="T24" fmla="*/ 41 w 288"/>
                <a:gd name="T25" fmla="*/ 30 h 60"/>
                <a:gd name="T26" fmla="*/ 144 w 288"/>
                <a:gd name="T27" fmla="*/ 48 h 60"/>
                <a:gd name="T28" fmla="*/ 247 w 288"/>
                <a:gd name="T29" fmla="*/ 30 h 60"/>
                <a:gd name="T30" fmla="*/ 144 w 288"/>
                <a:gd name="T31" fmla="*/ 12 h 60"/>
                <a:gd name="T32" fmla="*/ 41 w 288"/>
                <a:gd name="T33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60">
                  <a:moveTo>
                    <a:pt x="144" y="60"/>
                  </a:moveTo>
                  <a:cubicBezTo>
                    <a:pt x="144" y="60"/>
                    <a:pt x="144" y="60"/>
                    <a:pt x="143" y="6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" y="35"/>
                    <a:pt x="0" y="33"/>
                    <a:pt x="0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4" y="0"/>
                    <a:pt x="145" y="0"/>
                    <a:pt x="145" y="0"/>
                  </a:cubicBezTo>
                  <a:cubicBezTo>
                    <a:pt x="283" y="24"/>
                    <a:pt x="283" y="24"/>
                    <a:pt x="283" y="24"/>
                  </a:cubicBezTo>
                  <a:cubicBezTo>
                    <a:pt x="286" y="24"/>
                    <a:pt x="288" y="27"/>
                    <a:pt x="288" y="30"/>
                  </a:cubicBezTo>
                  <a:cubicBezTo>
                    <a:pt x="288" y="33"/>
                    <a:pt x="286" y="35"/>
                    <a:pt x="283" y="36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5" y="60"/>
                    <a:pt x="144" y="60"/>
                  </a:cubicBezTo>
                  <a:close/>
                  <a:moveTo>
                    <a:pt x="41" y="30"/>
                  </a:moveTo>
                  <a:cubicBezTo>
                    <a:pt x="144" y="48"/>
                    <a:pt x="144" y="48"/>
                    <a:pt x="144" y="48"/>
                  </a:cubicBezTo>
                  <a:cubicBezTo>
                    <a:pt x="247" y="30"/>
                    <a:pt x="247" y="30"/>
                    <a:pt x="247" y="30"/>
                  </a:cubicBezTo>
                  <a:cubicBezTo>
                    <a:pt x="144" y="12"/>
                    <a:pt x="144" y="12"/>
                    <a:pt x="144" y="12"/>
                  </a:cubicBezTo>
                  <a:lnTo>
                    <a:pt x="4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9" name="Freeform 216">
              <a:extLst>
                <a:ext uri="{FF2B5EF4-FFF2-40B4-BE49-F238E27FC236}">
                  <a16:creationId xmlns:a16="http://schemas.microsoft.com/office/drawing/2014/main" id="{EC8E6074-932E-4B4E-8158-2BA47CFA6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" y="718"/>
              <a:ext cx="201" cy="88"/>
            </a:xfrm>
            <a:custGeom>
              <a:avLst/>
              <a:gdLst>
                <a:gd name="T0" fmla="*/ 66 w 132"/>
                <a:gd name="T1" fmla="*/ 59 h 59"/>
                <a:gd name="T2" fmla="*/ 2 w 132"/>
                <a:gd name="T3" fmla="*/ 39 h 59"/>
                <a:gd name="T4" fmla="*/ 0 w 132"/>
                <a:gd name="T5" fmla="*/ 35 h 59"/>
                <a:gd name="T6" fmla="*/ 0 w 132"/>
                <a:gd name="T7" fmla="*/ 6 h 59"/>
                <a:gd name="T8" fmla="*/ 6 w 132"/>
                <a:gd name="T9" fmla="*/ 0 h 59"/>
                <a:gd name="T10" fmla="*/ 12 w 132"/>
                <a:gd name="T11" fmla="*/ 6 h 59"/>
                <a:gd name="T12" fmla="*/ 12 w 132"/>
                <a:gd name="T13" fmla="*/ 32 h 59"/>
                <a:gd name="T14" fmla="*/ 66 w 132"/>
                <a:gd name="T15" fmla="*/ 47 h 59"/>
                <a:gd name="T16" fmla="*/ 120 w 132"/>
                <a:gd name="T17" fmla="*/ 32 h 59"/>
                <a:gd name="T18" fmla="*/ 120 w 132"/>
                <a:gd name="T19" fmla="*/ 6 h 59"/>
                <a:gd name="T20" fmla="*/ 126 w 132"/>
                <a:gd name="T21" fmla="*/ 0 h 59"/>
                <a:gd name="T22" fmla="*/ 132 w 132"/>
                <a:gd name="T23" fmla="*/ 6 h 59"/>
                <a:gd name="T24" fmla="*/ 132 w 132"/>
                <a:gd name="T25" fmla="*/ 35 h 59"/>
                <a:gd name="T26" fmla="*/ 130 w 132"/>
                <a:gd name="T27" fmla="*/ 39 h 59"/>
                <a:gd name="T28" fmla="*/ 66 w 132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59">
                  <a:moveTo>
                    <a:pt x="66" y="59"/>
                  </a:moveTo>
                  <a:cubicBezTo>
                    <a:pt x="22" y="59"/>
                    <a:pt x="3" y="40"/>
                    <a:pt x="2" y="39"/>
                  </a:cubicBezTo>
                  <a:cubicBezTo>
                    <a:pt x="1" y="38"/>
                    <a:pt x="0" y="36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7" y="36"/>
                    <a:pt x="35" y="47"/>
                    <a:pt x="66" y="47"/>
                  </a:cubicBezTo>
                  <a:cubicBezTo>
                    <a:pt x="98" y="47"/>
                    <a:pt x="115" y="36"/>
                    <a:pt x="120" y="32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3"/>
                    <a:pt x="123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6"/>
                    <a:pt x="132" y="38"/>
                    <a:pt x="130" y="39"/>
                  </a:cubicBezTo>
                  <a:cubicBezTo>
                    <a:pt x="130" y="40"/>
                    <a:pt x="110" y="59"/>
                    <a:pt x="66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0" name="Freeform 217">
              <a:extLst>
                <a:ext uri="{FF2B5EF4-FFF2-40B4-BE49-F238E27FC236}">
                  <a16:creationId xmlns:a16="http://schemas.microsoft.com/office/drawing/2014/main" id="{C8BED602-4B69-4DD9-ADEB-3984548A3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3" y="706"/>
              <a:ext cx="18" cy="82"/>
            </a:xfrm>
            <a:custGeom>
              <a:avLst/>
              <a:gdLst>
                <a:gd name="T0" fmla="*/ 6 w 12"/>
                <a:gd name="T1" fmla="*/ 55 h 55"/>
                <a:gd name="T2" fmla="*/ 0 w 12"/>
                <a:gd name="T3" fmla="*/ 49 h 55"/>
                <a:gd name="T4" fmla="*/ 0 w 12"/>
                <a:gd name="T5" fmla="*/ 6 h 55"/>
                <a:gd name="T6" fmla="*/ 6 w 12"/>
                <a:gd name="T7" fmla="*/ 0 h 55"/>
                <a:gd name="T8" fmla="*/ 12 w 12"/>
                <a:gd name="T9" fmla="*/ 6 h 55"/>
                <a:gd name="T10" fmla="*/ 12 w 12"/>
                <a:gd name="T11" fmla="*/ 49 h 55"/>
                <a:gd name="T12" fmla="*/ 6 w 12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5">
                  <a:moveTo>
                    <a:pt x="6" y="55"/>
                  </a:moveTo>
                  <a:cubicBezTo>
                    <a:pt x="3" y="55"/>
                    <a:pt x="0" y="52"/>
                    <a:pt x="0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52"/>
                    <a:pt x="10" y="55"/>
                    <a:pt x="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1" name="Freeform 218">
              <a:extLst>
                <a:ext uri="{FF2B5EF4-FFF2-40B4-BE49-F238E27FC236}">
                  <a16:creationId xmlns:a16="http://schemas.microsoft.com/office/drawing/2014/main" id="{88248631-F1A5-4C93-9F1F-48983EA6B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6" y="770"/>
              <a:ext cx="73" cy="143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2 w 48"/>
                <a:gd name="T5" fmla="*/ 94 h 96"/>
                <a:gd name="T6" fmla="*/ 0 w 48"/>
                <a:gd name="T7" fmla="*/ 89 h 96"/>
                <a:gd name="T8" fmla="*/ 18 w 48"/>
                <a:gd name="T9" fmla="*/ 5 h 96"/>
                <a:gd name="T10" fmla="*/ 24 w 48"/>
                <a:gd name="T11" fmla="*/ 0 h 96"/>
                <a:gd name="T12" fmla="*/ 30 w 48"/>
                <a:gd name="T13" fmla="*/ 5 h 96"/>
                <a:gd name="T14" fmla="*/ 48 w 48"/>
                <a:gd name="T15" fmla="*/ 89 h 96"/>
                <a:gd name="T16" fmla="*/ 47 w 48"/>
                <a:gd name="T17" fmla="*/ 94 h 96"/>
                <a:gd name="T18" fmla="*/ 42 w 48"/>
                <a:gd name="T19" fmla="*/ 96 h 96"/>
                <a:gd name="T20" fmla="*/ 14 w 48"/>
                <a:gd name="T21" fmla="*/ 84 h 96"/>
                <a:gd name="T22" fmla="*/ 35 w 48"/>
                <a:gd name="T23" fmla="*/ 84 h 96"/>
                <a:gd name="T24" fmla="*/ 24 w 48"/>
                <a:gd name="T25" fmla="*/ 34 h 96"/>
                <a:gd name="T26" fmla="*/ 14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4" y="96"/>
                    <a:pt x="3" y="95"/>
                    <a:pt x="2" y="94"/>
                  </a:cubicBezTo>
                  <a:cubicBezTo>
                    <a:pt x="0" y="92"/>
                    <a:pt x="0" y="90"/>
                    <a:pt x="0" y="89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2"/>
                    <a:pt x="21" y="0"/>
                    <a:pt x="24" y="0"/>
                  </a:cubicBezTo>
                  <a:cubicBezTo>
                    <a:pt x="27" y="0"/>
                    <a:pt x="30" y="2"/>
                    <a:pt x="30" y="5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8" y="90"/>
                    <a:pt x="48" y="92"/>
                    <a:pt x="47" y="94"/>
                  </a:cubicBezTo>
                  <a:cubicBezTo>
                    <a:pt x="46" y="95"/>
                    <a:pt x="44" y="96"/>
                    <a:pt x="42" y="96"/>
                  </a:cubicBezTo>
                  <a:close/>
                  <a:moveTo>
                    <a:pt x="14" y="84"/>
                  </a:moveTo>
                  <a:cubicBezTo>
                    <a:pt x="35" y="84"/>
                    <a:pt x="35" y="84"/>
                    <a:pt x="35" y="84"/>
                  </a:cubicBezTo>
                  <a:cubicBezTo>
                    <a:pt x="24" y="34"/>
                    <a:pt x="24" y="34"/>
                    <a:pt x="24" y="34"/>
                  </a:cubicBezTo>
                  <a:lnTo>
                    <a:pt x="14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2" name="Freeform 219">
              <a:extLst>
                <a:ext uri="{FF2B5EF4-FFF2-40B4-BE49-F238E27FC236}">
                  <a16:creationId xmlns:a16="http://schemas.microsoft.com/office/drawing/2014/main" id="{24E232E3-4249-4F87-9336-18CDDA0DC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" y="943"/>
              <a:ext cx="213" cy="114"/>
            </a:xfrm>
            <a:custGeom>
              <a:avLst/>
              <a:gdLst>
                <a:gd name="T0" fmla="*/ 69 w 139"/>
                <a:gd name="T1" fmla="*/ 76 h 76"/>
                <a:gd name="T2" fmla="*/ 65 w 139"/>
                <a:gd name="T3" fmla="*/ 74 h 76"/>
                <a:gd name="T4" fmla="*/ 2 w 139"/>
                <a:gd name="T5" fmla="*/ 11 h 76"/>
                <a:gd name="T6" fmla="*/ 2 w 139"/>
                <a:gd name="T7" fmla="*/ 3 h 76"/>
                <a:gd name="T8" fmla="*/ 10 w 139"/>
                <a:gd name="T9" fmla="*/ 3 h 76"/>
                <a:gd name="T10" fmla="*/ 69 w 139"/>
                <a:gd name="T11" fmla="*/ 61 h 76"/>
                <a:gd name="T12" fmla="*/ 128 w 139"/>
                <a:gd name="T13" fmla="*/ 2 h 76"/>
                <a:gd name="T14" fmla="*/ 137 w 139"/>
                <a:gd name="T15" fmla="*/ 2 h 76"/>
                <a:gd name="T16" fmla="*/ 137 w 139"/>
                <a:gd name="T17" fmla="*/ 11 h 76"/>
                <a:gd name="T18" fmla="*/ 73 w 139"/>
                <a:gd name="T19" fmla="*/ 74 h 76"/>
                <a:gd name="T20" fmla="*/ 69 w 139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9" h="76">
                  <a:moveTo>
                    <a:pt x="69" y="76"/>
                  </a:moveTo>
                  <a:cubicBezTo>
                    <a:pt x="68" y="76"/>
                    <a:pt x="66" y="75"/>
                    <a:pt x="65" y="7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128" y="2"/>
                    <a:pt x="128" y="2"/>
                    <a:pt x="128" y="2"/>
                  </a:cubicBezTo>
                  <a:cubicBezTo>
                    <a:pt x="130" y="0"/>
                    <a:pt x="134" y="0"/>
                    <a:pt x="137" y="2"/>
                  </a:cubicBezTo>
                  <a:cubicBezTo>
                    <a:pt x="139" y="5"/>
                    <a:pt x="139" y="9"/>
                    <a:pt x="137" y="11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2" y="75"/>
                    <a:pt x="71" y="76"/>
                    <a:pt x="69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BCC758-BBC3-4704-A7CA-8FB7D08D7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auto">
          <a:xfrm rot="5400000">
            <a:off x="6705842" y="4063445"/>
            <a:ext cx="512064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01407E72-66F8-4775-B505-C12C797B15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4816" y="3137102"/>
            <a:ext cx="2196000" cy="1250950"/>
          </a:xfrm>
          <a:prstGeom prst="rect">
            <a:avLst/>
          </a:prstGeom>
        </p:spPr>
        <p:txBody>
          <a:bodyPr lIns="54000" tIns="36000" rIns="36000" bIns="36000"/>
          <a:lstStyle>
            <a:lvl1pPr marL="0" indent="0" algn="just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D4236A14-AFD0-429E-8B94-FD0C006552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4816" y="5297679"/>
            <a:ext cx="2196000" cy="477479"/>
          </a:xfrm>
          <a:prstGeom prst="rect">
            <a:avLst/>
          </a:prstGeom>
        </p:spPr>
        <p:txBody>
          <a:bodyPr lIns="54000" tIns="36000" rIns="36000" bIns="36000" numCol="2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>
                <a:solidFill>
                  <a:schemeClr val="bg1"/>
                </a:solidFill>
                <a:latin typeface="Graphik" panose="020B0503030202060203" pitchFamily="34" charset="-18"/>
              </a:defRPr>
            </a:lvl1pPr>
            <a:lvl2pPr algn="just">
              <a:defRPr sz="1100">
                <a:latin typeface="Graphik" panose="020B0503030202060203" pitchFamily="34" charset="-18"/>
              </a:defRPr>
            </a:lvl2pPr>
            <a:lvl3pPr algn="just">
              <a:defRPr sz="1100">
                <a:latin typeface="Graphik" panose="020B0503030202060203" pitchFamily="34" charset="-18"/>
              </a:defRPr>
            </a:lvl3pPr>
            <a:lvl4pPr algn="just">
              <a:defRPr sz="1100">
                <a:latin typeface="Graphik" panose="020B0503030202060203" pitchFamily="34" charset="-18"/>
              </a:defRPr>
            </a:lvl4pPr>
            <a:lvl5pPr algn="just">
              <a:defRPr sz="1100">
                <a:latin typeface="Graphik" panose="020B0503030202060203" pitchFamily="34" charset="-18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Text Placeholder 98">
            <a:extLst>
              <a:ext uri="{FF2B5EF4-FFF2-40B4-BE49-F238E27FC236}">
                <a16:creationId xmlns:a16="http://schemas.microsoft.com/office/drawing/2014/main" id="{BF2A2800-9122-4AE6-8294-B506317011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849" y="420379"/>
            <a:ext cx="7174800" cy="491306"/>
          </a:xfrm>
          <a:prstGeom prst="rect">
            <a:avLst/>
          </a:prstGeom>
        </p:spPr>
        <p:txBody>
          <a:bodyPr lIns="0" tIns="61200" rIns="0" bIns="0" anchor="b" anchorCtr="0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pl-PL" sz="3549" b="1" kern="1200" dirty="0">
                <a:solidFill>
                  <a:schemeClr val="tx1"/>
                </a:solidFill>
                <a:latin typeface="Graphik Black" panose="020B0A03030202060203" pitchFamily="34" charset="-18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mię i nazwisko</a:t>
            </a:r>
          </a:p>
        </p:txBody>
      </p:sp>
      <p:sp>
        <p:nvSpPr>
          <p:cNvPr id="37" name="Text Placeholder 91">
            <a:extLst>
              <a:ext uri="{FF2B5EF4-FFF2-40B4-BE49-F238E27FC236}">
                <a16:creationId xmlns:a16="http://schemas.microsoft.com/office/drawing/2014/main" id="{F12B844A-0114-4CB3-942B-701FBFECFC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849" y="1030842"/>
            <a:ext cx="4140000" cy="399600"/>
          </a:xfrm>
          <a:prstGeom prst="rect">
            <a:avLst/>
          </a:prstGeom>
        </p:spPr>
        <p:txBody>
          <a:bodyPr lIns="0" tIns="0" rIns="72000" bIns="36000" anchor="b" anchorCtr="0"/>
          <a:lstStyle>
            <a:lvl1pPr marL="0" indent="0">
              <a:buNone/>
              <a:defRPr kumimoji="0" lang="pl-PL" sz="2000" b="0" i="0" u="none" strike="noStrike" kern="1200" cap="none" spc="0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T Sectra Fine Rg" panose="00000500000000000000" pitchFamily="50" charset="0"/>
                <a:ea typeface="Roboto Medium" panose="02000000000000000000" pitchFamily="2" charset="0"/>
                <a:cs typeface="+mn-cs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2286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77E53257-0C7A-4574-B279-5D0B0F4DD728}"/>
              </a:ext>
            </a:extLst>
          </p:cNvPr>
          <p:cNvSpPr txBox="1">
            <a:spLocks/>
          </p:cNvSpPr>
          <p:nvPr userDrawn="1"/>
        </p:nvSpPr>
        <p:spPr>
          <a:xfrm>
            <a:off x="2880849" y="1556713"/>
            <a:ext cx="4773737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6000" rIns="36000" bIns="36000" rtlCol="0" anchor="ctr" anchorCtr="0">
            <a:no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noProof="0">
                <a:solidFill>
                  <a:srgbClr val="7500C0"/>
                </a:solidFill>
                <a:latin typeface="Graphik"/>
              </a:rPr>
              <a:t>Relevant project experience</a:t>
            </a:r>
          </a:p>
        </p:txBody>
      </p:sp>
      <p:sp>
        <p:nvSpPr>
          <p:cNvPr id="39" name="Picture Placeholder 8">
            <a:extLst>
              <a:ext uri="{FF2B5EF4-FFF2-40B4-BE49-F238E27FC236}">
                <a16:creationId xmlns:a16="http://schemas.microsoft.com/office/drawing/2014/main" id="{D7CAE0B1-7F50-46CB-A1EB-0C1DB621F2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2628000" cy="2592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pl-PL"/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A8ABD034-B5F4-4B45-9AFF-E5B729F00B87}"/>
              </a:ext>
            </a:extLst>
          </p:cNvPr>
          <p:cNvSpPr txBox="1">
            <a:spLocks/>
          </p:cNvSpPr>
          <p:nvPr userDrawn="1"/>
        </p:nvSpPr>
        <p:spPr>
          <a:xfrm>
            <a:off x="9682733" y="3361954"/>
            <a:ext cx="257627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noProof="0">
                <a:solidFill>
                  <a:schemeClr val="accent2"/>
                </a:solidFill>
              </a:rPr>
              <a:t>Key skill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51B1312-96EF-48D9-B9D1-F8F197504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266162" y="3298265"/>
            <a:ext cx="265176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2" name="Group 83">
            <a:extLst>
              <a:ext uri="{FF2B5EF4-FFF2-40B4-BE49-F238E27FC236}">
                <a16:creationId xmlns:a16="http://schemas.microsoft.com/office/drawing/2014/main" id="{FCA95F8C-67D0-41A3-B94A-53AE76996A0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318492" y="3372048"/>
            <a:ext cx="321172" cy="328641"/>
            <a:chOff x="1580" y="1910"/>
            <a:chExt cx="387" cy="396"/>
          </a:xfrm>
          <a:solidFill>
            <a:schemeClr val="accent2"/>
          </a:solidFill>
        </p:grpSpPr>
        <p:sp>
          <p:nvSpPr>
            <p:cNvPr id="43" name="Freeform 84">
              <a:extLst>
                <a:ext uri="{FF2B5EF4-FFF2-40B4-BE49-F238E27FC236}">
                  <a16:creationId xmlns:a16="http://schemas.microsoft.com/office/drawing/2014/main" id="{D9B03C2E-83D0-43C2-ADBD-B06AB50006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82"/>
              <a:ext cx="238" cy="252"/>
            </a:xfrm>
            <a:custGeom>
              <a:avLst/>
              <a:gdLst>
                <a:gd name="T0" fmla="*/ 0 w 156"/>
                <a:gd name="T1" fmla="*/ 78 h 169"/>
                <a:gd name="T2" fmla="*/ 54 w 156"/>
                <a:gd name="T3" fmla="*/ 163 h 169"/>
                <a:gd name="T4" fmla="*/ 96 w 156"/>
                <a:gd name="T5" fmla="*/ 169 h 169"/>
                <a:gd name="T6" fmla="*/ 102 w 156"/>
                <a:gd name="T7" fmla="*/ 153 h 169"/>
                <a:gd name="T8" fmla="*/ 78 w 156"/>
                <a:gd name="T9" fmla="*/ 0 h 169"/>
                <a:gd name="T10" fmla="*/ 90 w 156"/>
                <a:gd name="T11" fmla="*/ 148 h 169"/>
                <a:gd name="T12" fmla="*/ 66 w 156"/>
                <a:gd name="T13" fmla="*/ 157 h 169"/>
                <a:gd name="T14" fmla="*/ 61 w 156"/>
                <a:gd name="T15" fmla="*/ 142 h 169"/>
                <a:gd name="T16" fmla="*/ 63 w 156"/>
                <a:gd name="T17" fmla="*/ 133 h 169"/>
                <a:gd name="T18" fmla="*/ 67 w 156"/>
                <a:gd name="T19" fmla="*/ 110 h 169"/>
                <a:gd name="T20" fmla="*/ 58 w 156"/>
                <a:gd name="T21" fmla="*/ 89 h 169"/>
                <a:gd name="T22" fmla="*/ 53 w 156"/>
                <a:gd name="T23" fmla="*/ 78 h 169"/>
                <a:gd name="T24" fmla="*/ 56 w 156"/>
                <a:gd name="T25" fmla="*/ 67 h 169"/>
                <a:gd name="T26" fmla="*/ 55 w 156"/>
                <a:gd name="T27" fmla="*/ 57 h 169"/>
                <a:gd name="T28" fmla="*/ 82 w 156"/>
                <a:gd name="T29" fmla="*/ 44 h 169"/>
                <a:gd name="T30" fmla="*/ 99 w 156"/>
                <a:gd name="T31" fmla="*/ 67 h 169"/>
                <a:gd name="T32" fmla="*/ 102 w 156"/>
                <a:gd name="T33" fmla="*/ 78 h 169"/>
                <a:gd name="T34" fmla="*/ 102 w 156"/>
                <a:gd name="T35" fmla="*/ 83 h 169"/>
                <a:gd name="T36" fmla="*/ 92 w 156"/>
                <a:gd name="T37" fmla="*/ 105 h 169"/>
                <a:gd name="T38" fmla="*/ 89 w 156"/>
                <a:gd name="T39" fmla="*/ 127 h 169"/>
                <a:gd name="T40" fmla="*/ 105 w 156"/>
                <a:gd name="T41" fmla="*/ 138 h 169"/>
                <a:gd name="T42" fmla="*/ 118 w 156"/>
                <a:gd name="T43" fmla="*/ 131 h 169"/>
                <a:gd name="T44" fmla="*/ 100 w 156"/>
                <a:gd name="T45" fmla="*/ 114 h 169"/>
                <a:gd name="T46" fmla="*/ 114 w 156"/>
                <a:gd name="T47" fmla="*/ 80 h 169"/>
                <a:gd name="T48" fmla="*/ 111 w 156"/>
                <a:gd name="T49" fmla="*/ 69 h 169"/>
                <a:gd name="T50" fmla="*/ 82 w 156"/>
                <a:gd name="T51" fmla="*/ 33 h 169"/>
                <a:gd name="T52" fmla="*/ 44 w 156"/>
                <a:gd name="T53" fmla="*/ 49 h 169"/>
                <a:gd name="T54" fmla="*/ 43 w 156"/>
                <a:gd name="T55" fmla="*/ 71 h 169"/>
                <a:gd name="T56" fmla="*/ 46 w 156"/>
                <a:gd name="T57" fmla="*/ 93 h 169"/>
                <a:gd name="T58" fmla="*/ 55 w 156"/>
                <a:gd name="T59" fmla="*/ 123 h 169"/>
                <a:gd name="T60" fmla="*/ 12 w 156"/>
                <a:gd name="T61" fmla="*/ 78 h 169"/>
                <a:gd name="T62" fmla="*/ 144 w 156"/>
                <a:gd name="T63" fmla="*/ 7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9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12"/>
                    <a:pt x="22" y="142"/>
                    <a:pt x="54" y="153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6"/>
                    <a:pt x="56" y="169"/>
                    <a:pt x="60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9" y="169"/>
                    <a:pt x="102" y="166"/>
                    <a:pt x="102" y="16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34" y="142"/>
                    <a:pt x="156" y="112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lose/>
                  <a:moveTo>
                    <a:pt x="94" y="142"/>
                  </a:moveTo>
                  <a:cubicBezTo>
                    <a:pt x="92" y="143"/>
                    <a:pt x="90" y="145"/>
                    <a:pt x="90" y="148"/>
                  </a:cubicBezTo>
                  <a:cubicBezTo>
                    <a:pt x="90" y="157"/>
                    <a:pt x="90" y="157"/>
                    <a:pt x="90" y="157"/>
                  </a:cubicBezTo>
                  <a:cubicBezTo>
                    <a:pt x="66" y="157"/>
                    <a:pt x="66" y="157"/>
                    <a:pt x="66" y="157"/>
                  </a:cubicBezTo>
                  <a:cubicBezTo>
                    <a:pt x="66" y="148"/>
                    <a:pt x="66" y="148"/>
                    <a:pt x="66" y="148"/>
                  </a:cubicBezTo>
                  <a:cubicBezTo>
                    <a:pt x="66" y="145"/>
                    <a:pt x="64" y="143"/>
                    <a:pt x="61" y="142"/>
                  </a:cubicBezTo>
                  <a:cubicBezTo>
                    <a:pt x="57" y="141"/>
                    <a:pt x="54" y="140"/>
                    <a:pt x="50" y="138"/>
                  </a:cubicBezTo>
                  <a:cubicBezTo>
                    <a:pt x="54" y="136"/>
                    <a:pt x="59" y="135"/>
                    <a:pt x="63" y="133"/>
                  </a:cubicBezTo>
                  <a:cubicBezTo>
                    <a:pt x="65" y="132"/>
                    <a:pt x="67" y="130"/>
                    <a:pt x="67" y="12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08"/>
                    <a:pt x="65" y="106"/>
                    <a:pt x="63" y="105"/>
                  </a:cubicBezTo>
                  <a:cubicBezTo>
                    <a:pt x="63" y="105"/>
                    <a:pt x="58" y="102"/>
                    <a:pt x="58" y="89"/>
                  </a:cubicBezTo>
                  <a:cubicBezTo>
                    <a:pt x="58" y="86"/>
                    <a:pt x="56" y="84"/>
                    <a:pt x="54" y="84"/>
                  </a:cubicBezTo>
                  <a:cubicBezTo>
                    <a:pt x="53" y="83"/>
                    <a:pt x="52" y="80"/>
                    <a:pt x="53" y="78"/>
                  </a:cubicBezTo>
                  <a:cubicBezTo>
                    <a:pt x="56" y="78"/>
                    <a:pt x="58" y="75"/>
                    <a:pt x="58" y="72"/>
                  </a:cubicBezTo>
                  <a:cubicBezTo>
                    <a:pt x="58" y="71"/>
                    <a:pt x="58" y="69"/>
                    <a:pt x="56" y="67"/>
                  </a:cubicBezTo>
                  <a:cubicBezTo>
                    <a:pt x="54" y="60"/>
                    <a:pt x="53" y="58"/>
                    <a:pt x="53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8" y="58"/>
                    <a:pt x="61" y="56"/>
                    <a:pt x="62" y="53"/>
                  </a:cubicBezTo>
                  <a:cubicBezTo>
                    <a:pt x="63" y="48"/>
                    <a:pt x="72" y="44"/>
                    <a:pt x="82" y="44"/>
                  </a:cubicBezTo>
                  <a:cubicBezTo>
                    <a:pt x="92" y="44"/>
                    <a:pt x="100" y="48"/>
                    <a:pt x="102" y="53"/>
                  </a:cubicBezTo>
                  <a:cubicBezTo>
                    <a:pt x="103" y="58"/>
                    <a:pt x="100" y="64"/>
                    <a:pt x="99" y="67"/>
                  </a:cubicBezTo>
                  <a:cubicBezTo>
                    <a:pt x="98" y="69"/>
                    <a:pt x="97" y="71"/>
                    <a:pt x="97" y="72"/>
                  </a:cubicBezTo>
                  <a:cubicBezTo>
                    <a:pt x="97" y="75"/>
                    <a:pt x="100" y="78"/>
                    <a:pt x="102" y="78"/>
                  </a:cubicBezTo>
                  <a:cubicBezTo>
                    <a:pt x="103" y="78"/>
                    <a:pt x="103" y="79"/>
                    <a:pt x="103" y="79"/>
                  </a:cubicBezTo>
                  <a:cubicBezTo>
                    <a:pt x="103" y="81"/>
                    <a:pt x="102" y="82"/>
                    <a:pt x="102" y="83"/>
                  </a:cubicBezTo>
                  <a:cubicBezTo>
                    <a:pt x="99" y="84"/>
                    <a:pt x="97" y="86"/>
                    <a:pt x="97" y="89"/>
                  </a:cubicBezTo>
                  <a:cubicBezTo>
                    <a:pt x="97" y="101"/>
                    <a:pt x="93" y="104"/>
                    <a:pt x="92" y="105"/>
                  </a:cubicBezTo>
                  <a:cubicBezTo>
                    <a:pt x="90" y="106"/>
                    <a:pt x="89" y="108"/>
                    <a:pt x="89" y="110"/>
                  </a:cubicBezTo>
                  <a:cubicBezTo>
                    <a:pt x="89" y="127"/>
                    <a:pt x="89" y="127"/>
                    <a:pt x="89" y="127"/>
                  </a:cubicBezTo>
                  <a:cubicBezTo>
                    <a:pt x="89" y="130"/>
                    <a:pt x="90" y="132"/>
                    <a:pt x="92" y="133"/>
                  </a:cubicBezTo>
                  <a:cubicBezTo>
                    <a:pt x="97" y="135"/>
                    <a:pt x="101" y="136"/>
                    <a:pt x="105" y="138"/>
                  </a:cubicBezTo>
                  <a:cubicBezTo>
                    <a:pt x="102" y="140"/>
                    <a:pt x="98" y="141"/>
                    <a:pt x="94" y="142"/>
                  </a:cubicBezTo>
                  <a:close/>
                  <a:moveTo>
                    <a:pt x="118" y="131"/>
                  </a:moveTo>
                  <a:cubicBezTo>
                    <a:pt x="112" y="128"/>
                    <a:pt x="106" y="126"/>
                    <a:pt x="100" y="12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4" y="111"/>
                    <a:pt x="108" y="105"/>
                    <a:pt x="109" y="93"/>
                  </a:cubicBezTo>
                  <a:cubicBezTo>
                    <a:pt x="112" y="90"/>
                    <a:pt x="114" y="85"/>
                    <a:pt x="114" y="80"/>
                  </a:cubicBezTo>
                  <a:cubicBezTo>
                    <a:pt x="114" y="76"/>
                    <a:pt x="114" y="74"/>
                    <a:pt x="112" y="71"/>
                  </a:cubicBezTo>
                  <a:cubicBezTo>
                    <a:pt x="112" y="71"/>
                    <a:pt x="111" y="70"/>
                    <a:pt x="111" y="69"/>
                  </a:cubicBezTo>
                  <a:cubicBezTo>
                    <a:pt x="113" y="65"/>
                    <a:pt x="115" y="57"/>
                    <a:pt x="113" y="50"/>
                  </a:cubicBezTo>
                  <a:cubicBezTo>
                    <a:pt x="110" y="37"/>
                    <a:pt x="94" y="33"/>
                    <a:pt x="82" y="33"/>
                  </a:cubicBezTo>
                  <a:cubicBezTo>
                    <a:pt x="71" y="33"/>
                    <a:pt x="58" y="36"/>
                    <a:pt x="53" y="45"/>
                  </a:cubicBezTo>
                  <a:cubicBezTo>
                    <a:pt x="49" y="45"/>
                    <a:pt x="46" y="46"/>
                    <a:pt x="44" y="49"/>
                  </a:cubicBezTo>
                  <a:cubicBezTo>
                    <a:pt x="39" y="55"/>
                    <a:pt x="42" y="64"/>
                    <a:pt x="45" y="69"/>
                  </a:cubicBezTo>
                  <a:cubicBezTo>
                    <a:pt x="44" y="70"/>
                    <a:pt x="44" y="71"/>
                    <a:pt x="43" y="71"/>
                  </a:cubicBezTo>
                  <a:cubicBezTo>
                    <a:pt x="42" y="74"/>
                    <a:pt x="41" y="77"/>
                    <a:pt x="41" y="80"/>
                  </a:cubicBezTo>
                  <a:cubicBezTo>
                    <a:pt x="41" y="85"/>
                    <a:pt x="43" y="90"/>
                    <a:pt x="46" y="93"/>
                  </a:cubicBezTo>
                  <a:cubicBezTo>
                    <a:pt x="47" y="105"/>
                    <a:pt x="51" y="111"/>
                    <a:pt x="55" y="114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49" y="126"/>
                    <a:pt x="43" y="128"/>
                    <a:pt x="38" y="131"/>
                  </a:cubicBezTo>
                  <a:cubicBezTo>
                    <a:pt x="22" y="119"/>
                    <a:pt x="12" y="100"/>
                    <a:pt x="12" y="78"/>
                  </a:cubicBezTo>
                  <a:cubicBezTo>
                    <a:pt x="12" y="42"/>
                    <a:pt x="41" y="12"/>
                    <a:pt x="78" y="12"/>
                  </a:cubicBezTo>
                  <a:cubicBezTo>
                    <a:pt x="114" y="12"/>
                    <a:pt x="144" y="42"/>
                    <a:pt x="144" y="78"/>
                  </a:cubicBezTo>
                  <a:cubicBezTo>
                    <a:pt x="144" y="100"/>
                    <a:pt x="134" y="119"/>
                    <a:pt x="118" y="1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4" name="Freeform 85">
              <a:extLst>
                <a:ext uri="{FF2B5EF4-FFF2-40B4-BE49-F238E27FC236}">
                  <a16:creationId xmlns:a16="http://schemas.microsoft.com/office/drawing/2014/main" id="{A8DB1EF7-B4F2-4C78-9EBC-9F7E16168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288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2"/>
                    <a:pt x="21" y="0"/>
                    <a:pt x="1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5" name="Freeform 86">
              <a:extLst>
                <a:ext uri="{FF2B5EF4-FFF2-40B4-BE49-F238E27FC236}">
                  <a16:creationId xmlns:a16="http://schemas.microsoft.com/office/drawing/2014/main" id="{9E3F8CA7-0F4B-4F85-81CE-17DA63E40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2252"/>
              <a:ext cx="74" cy="18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5" y="12"/>
                    <a:pt x="48" y="9"/>
                    <a:pt x="48" y="6"/>
                  </a:cubicBezTo>
                  <a:cubicBezTo>
                    <a:pt x="48" y="2"/>
                    <a:pt x="45" y="0"/>
                    <a:pt x="4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id="{39C29068-057D-45AB-9FA9-8B0F23AB5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191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2" y="36"/>
                    <a:pt x="6" y="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7" name="Freeform 88">
              <a:extLst>
                <a:ext uri="{FF2B5EF4-FFF2-40B4-BE49-F238E27FC236}">
                  <a16:creationId xmlns:a16="http://schemas.microsoft.com/office/drawing/2014/main" id="{CA19B0F7-3B87-4621-BB53-CBDE997DA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8" name="Freeform 89">
              <a:extLst>
                <a:ext uri="{FF2B5EF4-FFF2-40B4-BE49-F238E27FC236}">
                  <a16:creationId xmlns:a16="http://schemas.microsoft.com/office/drawing/2014/main" id="{758E107B-D5FB-4E68-A39C-7C0515D20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10"/>
                    <a:pt x="36" y="6"/>
                  </a:cubicBezTo>
                  <a:cubicBezTo>
                    <a:pt x="36" y="3"/>
                    <a:pt x="34" y="0"/>
                    <a:pt x="3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9" name="Freeform 90">
              <a:extLst>
                <a:ext uri="{FF2B5EF4-FFF2-40B4-BE49-F238E27FC236}">
                  <a16:creationId xmlns:a16="http://schemas.microsoft.com/office/drawing/2014/main" id="{A76C3E93-232D-4707-B307-533E8A377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49"/>
              <a:ext cx="58" cy="57"/>
            </a:xfrm>
            <a:custGeom>
              <a:avLst/>
              <a:gdLst>
                <a:gd name="T0" fmla="*/ 27 w 38"/>
                <a:gd name="T1" fmla="*/ 37 h 38"/>
                <a:gd name="T2" fmla="*/ 32 w 38"/>
                <a:gd name="T3" fmla="*/ 38 h 38"/>
                <a:gd name="T4" fmla="*/ 36 w 38"/>
                <a:gd name="T5" fmla="*/ 37 h 38"/>
                <a:gd name="T6" fmla="*/ 36 w 38"/>
                <a:gd name="T7" fmla="*/ 28 h 38"/>
                <a:gd name="T8" fmla="*/ 10 w 38"/>
                <a:gd name="T9" fmla="*/ 3 h 38"/>
                <a:gd name="T10" fmla="*/ 2 w 38"/>
                <a:gd name="T11" fmla="*/ 3 h 38"/>
                <a:gd name="T12" fmla="*/ 2 w 38"/>
                <a:gd name="T13" fmla="*/ 11 h 38"/>
                <a:gd name="T14" fmla="*/ 27 w 38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27" y="37"/>
                  </a:moveTo>
                  <a:cubicBezTo>
                    <a:pt x="29" y="38"/>
                    <a:pt x="30" y="38"/>
                    <a:pt x="32" y="38"/>
                  </a:cubicBezTo>
                  <a:cubicBezTo>
                    <a:pt x="33" y="38"/>
                    <a:pt x="35" y="38"/>
                    <a:pt x="36" y="37"/>
                  </a:cubicBezTo>
                  <a:cubicBezTo>
                    <a:pt x="38" y="34"/>
                    <a:pt x="38" y="31"/>
                    <a:pt x="36" y="2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lnTo>
                    <a:pt x="27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50" name="Freeform 91">
              <a:extLst>
                <a:ext uri="{FF2B5EF4-FFF2-40B4-BE49-F238E27FC236}">
                  <a16:creationId xmlns:a16="http://schemas.microsoft.com/office/drawing/2014/main" id="{C3FDEC82-C31B-4A05-BFAC-C8C814527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1949"/>
              <a:ext cx="60" cy="57"/>
            </a:xfrm>
            <a:custGeom>
              <a:avLst/>
              <a:gdLst>
                <a:gd name="T0" fmla="*/ 7 w 39"/>
                <a:gd name="T1" fmla="*/ 38 h 38"/>
                <a:gd name="T2" fmla="*/ 11 w 39"/>
                <a:gd name="T3" fmla="*/ 37 h 38"/>
                <a:gd name="T4" fmla="*/ 36 w 39"/>
                <a:gd name="T5" fmla="*/ 11 h 38"/>
                <a:gd name="T6" fmla="*/ 36 w 39"/>
                <a:gd name="T7" fmla="*/ 3 h 38"/>
                <a:gd name="T8" fmla="*/ 28 w 39"/>
                <a:gd name="T9" fmla="*/ 3 h 38"/>
                <a:gd name="T10" fmla="*/ 2 w 39"/>
                <a:gd name="T11" fmla="*/ 28 h 38"/>
                <a:gd name="T12" fmla="*/ 2 w 39"/>
                <a:gd name="T13" fmla="*/ 37 h 38"/>
                <a:gd name="T14" fmla="*/ 7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7" y="38"/>
                  </a:moveTo>
                  <a:cubicBezTo>
                    <a:pt x="8" y="38"/>
                    <a:pt x="10" y="38"/>
                    <a:pt x="11" y="37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9"/>
                    <a:pt x="39" y="5"/>
                    <a:pt x="36" y="3"/>
                  </a:cubicBezTo>
                  <a:cubicBezTo>
                    <a:pt x="34" y="0"/>
                    <a:pt x="30" y="0"/>
                    <a:pt x="28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8"/>
                    <a:pt x="5" y="38"/>
                    <a:pt x="7" y="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933041EA-9243-4114-9CCC-8C1B9591CFC1}"/>
              </a:ext>
            </a:extLst>
          </p:cNvPr>
          <p:cNvSpPr txBox="1">
            <a:spLocks/>
          </p:cNvSpPr>
          <p:nvPr userDrawn="1"/>
        </p:nvSpPr>
        <p:spPr>
          <a:xfrm>
            <a:off x="9682733" y="5887248"/>
            <a:ext cx="2196798" cy="32244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 anchor="ctr" anchorCtr="0">
            <a:normAutofit/>
          </a:bodyPr>
          <a:lstStyle>
            <a:lvl1pPr marL="2286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pl-PL" sz="1599" b="1" kern="1200" noProof="0" dirty="0">
                <a:solidFill>
                  <a:srgbClr val="FFC000"/>
                </a:solidFill>
                <a:latin typeface="+mn-lt"/>
                <a:ea typeface="Roboto Medium" panose="02000000000000000000" pitchFamily="2" charset="0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2"/>
                </a:solidFill>
              </a:rPr>
              <a:t>Languages</a:t>
            </a:r>
          </a:p>
        </p:txBody>
      </p:sp>
      <p:sp>
        <p:nvSpPr>
          <p:cNvPr id="52" name="Freeform 89">
            <a:extLst>
              <a:ext uri="{FF2B5EF4-FFF2-40B4-BE49-F238E27FC236}">
                <a16:creationId xmlns:a16="http://schemas.microsoft.com/office/drawing/2014/main" id="{3E0E9A3A-1B55-418B-B993-1C65A1DD6C9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318492" y="5957858"/>
            <a:ext cx="274320" cy="229244"/>
          </a:xfrm>
          <a:custGeom>
            <a:avLst/>
            <a:gdLst>
              <a:gd name="T0" fmla="*/ 108 w 288"/>
              <a:gd name="T1" fmla="*/ 240 h 240"/>
              <a:gd name="T2" fmla="*/ 105 w 288"/>
              <a:gd name="T3" fmla="*/ 240 h 240"/>
              <a:gd name="T4" fmla="*/ 102 w 288"/>
              <a:gd name="T5" fmla="*/ 234 h 240"/>
              <a:gd name="T6" fmla="*/ 102 w 288"/>
              <a:gd name="T7" fmla="*/ 192 h 240"/>
              <a:gd name="T8" fmla="*/ 96 w 288"/>
              <a:gd name="T9" fmla="*/ 192 h 240"/>
              <a:gd name="T10" fmla="*/ 0 w 288"/>
              <a:gd name="T11" fmla="*/ 96 h 240"/>
              <a:gd name="T12" fmla="*/ 96 w 288"/>
              <a:gd name="T13" fmla="*/ 0 h 240"/>
              <a:gd name="T14" fmla="*/ 192 w 288"/>
              <a:gd name="T15" fmla="*/ 0 h 240"/>
              <a:gd name="T16" fmla="*/ 288 w 288"/>
              <a:gd name="T17" fmla="*/ 96 h 240"/>
              <a:gd name="T18" fmla="*/ 192 w 288"/>
              <a:gd name="T19" fmla="*/ 192 h 240"/>
              <a:gd name="T20" fmla="*/ 158 w 288"/>
              <a:gd name="T21" fmla="*/ 192 h 240"/>
              <a:gd name="T22" fmla="*/ 112 w 288"/>
              <a:gd name="T23" fmla="*/ 238 h 240"/>
              <a:gd name="T24" fmla="*/ 108 w 288"/>
              <a:gd name="T25" fmla="*/ 240 h 240"/>
              <a:gd name="T26" fmla="*/ 96 w 288"/>
              <a:gd name="T27" fmla="*/ 12 h 240"/>
              <a:gd name="T28" fmla="*/ 12 w 288"/>
              <a:gd name="T29" fmla="*/ 96 h 240"/>
              <a:gd name="T30" fmla="*/ 96 w 288"/>
              <a:gd name="T31" fmla="*/ 180 h 240"/>
              <a:gd name="T32" fmla="*/ 108 w 288"/>
              <a:gd name="T33" fmla="*/ 180 h 240"/>
              <a:gd name="T34" fmla="*/ 114 w 288"/>
              <a:gd name="T35" fmla="*/ 186 h 240"/>
              <a:gd name="T36" fmla="*/ 114 w 288"/>
              <a:gd name="T37" fmla="*/ 220 h 240"/>
              <a:gd name="T38" fmla="*/ 151 w 288"/>
              <a:gd name="T39" fmla="*/ 182 h 240"/>
              <a:gd name="T40" fmla="*/ 156 w 288"/>
              <a:gd name="T41" fmla="*/ 180 h 240"/>
              <a:gd name="T42" fmla="*/ 192 w 288"/>
              <a:gd name="T43" fmla="*/ 180 h 240"/>
              <a:gd name="T44" fmla="*/ 276 w 288"/>
              <a:gd name="T45" fmla="*/ 96 h 240"/>
              <a:gd name="T46" fmla="*/ 192 w 288"/>
              <a:gd name="T47" fmla="*/ 12 h 240"/>
              <a:gd name="T48" fmla="*/ 96 w 288"/>
              <a:gd name="T49" fmla="*/ 1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88" h="240">
                <a:moveTo>
                  <a:pt x="108" y="240"/>
                </a:moveTo>
                <a:cubicBezTo>
                  <a:pt x="107" y="240"/>
                  <a:pt x="106" y="240"/>
                  <a:pt x="105" y="240"/>
                </a:cubicBezTo>
                <a:cubicBezTo>
                  <a:pt x="103" y="239"/>
                  <a:pt x="102" y="237"/>
                  <a:pt x="102" y="234"/>
                </a:cubicBezTo>
                <a:cubicBezTo>
                  <a:pt x="102" y="192"/>
                  <a:pt x="102" y="192"/>
                  <a:pt x="102" y="192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43" y="192"/>
                  <a:pt x="0" y="149"/>
                  <a:pt x="0" y="96"/>
                </a:cubicBezTo>
                <a:cubicBezTo>
                  <a:pt x="0" y="43"/>
                  <a:pt x="43" y="0"/>
                  <a:pt x="96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245" y="0"/>
                  <a:pt x="288" y="43"/>
                  <a:pt x="288" y="96"/>
                </a:cubicBezTo>
                <a:cubicBezTo>
                  <a:pt x="288" y="149"/>
                  <a:pt x="245" y="192"/>
                  <a:pt x="192" y="192"/>
                </a:cubicBezTo>
                <a:cubicBezTo>
                  <a:pt x="158" y="192"/>
                  <a:pt x="158" y="192"/>
                  <a:pt x="158" y="192"/>
                </a:cubicBezTo>
                <a:cubicBezTo>
                  <a:pt x="112" y="238"/>
                  <a:pt x="112" y="238"/>
                  <a:pt x="112" y="238"/>
                </a:cubicBezTo>
                <a:cubicBezTo>
                  <a:pt x="111" y="240"/>
                  <a:pt x="109" y="240"/>
                  <a:pt x="108" y="240"/>
                </a:cubicBezTo>
                <a:close/>
                <a:moveTo>
                  <a:pt x="96" y="12"/>
                </a:moveTo>
                <a:cubicBezTo>
                  <a:pt x="49" y="12"/>
                  <a:pt x="12" y="50"/>
                  <a:pt x="12" y="96"/>
                </a:cubicBezTo>
                <a:cubicBezTo>
                  <a:pt x="12" y="143"/>
                  <a:pt x="49" y="180"/>
                  <a:pt x="96" y="180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11" y="180"/>
                  <a:pt x="114" y="183"/>
                  <a:pt x="114" y="186"/>
                </a:cubicBezTo>
                <a:cubicBezTo>
                  <a:pt x="114" y="220"/>
                  <a:pt x="114" y="220"/>
                  <a:pt x="114" y="220"/>
                </a:cubicBezTo>
                <a:cubicBezTo>
                  <a:pt x="151" y="182"/>
                  <a:pt x="151" y="182"/>
                  <a:pt x="151" y="182"/>
                </a:cubicBezTo>
                <a:cubicBezTo>
                  <a:pt x="153" y="181"/>
                  <a:pt x="154" y="180"/>
                  <a:pt x="156" y="18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38" y="180"/>
                  <a:pt x="276" y="143"/>
                  <a:pt x="276" y="96"/>
                </a:cubicBezTo>
                <a:cubicBezTo>
                  <a:pt x="276" y="50"/>
                  <a:pt x="238" y="12"/>
                  <a:pt x="192" y="12"/>
                </a:cubicBezTo>
                <a:lnTo>
                  <a:pt x="96" y="1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cs typeface="Arial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2DEBC84-A7A5-49C9-9B83-0F8C04478C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266162" y="5857528"/>
            <a:ext cx="2651760" cy="0"/>
          </a:xfrm>
          <a:prstGeom prst="line">
            <a:avLst/>
          </a:prstGeom>
          <a:solidFill>
            <a:srgbClr val="A100FF"/>
          </a:solidFill>
          <a:ln w="6350" cap="flat" cmpd="sng" algn="ctr">
            <a:solidFill>
              <a:srgbClr val="96968C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F2679A-F6D2-4AC0-8A88-3A0DE38E255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208" y="1907471"/>
            <a:ext cx="2664000" cy="1106487"/>
          </a:xfrm>
        </p:spPr>
        <p:txBody>
          <a:bodyPr lIns="54000" tIns="36000" rIns="36000" bIns="36000"/>
          <a:lstStyle>
            <a:lvl1pPr marL="0" indent="0" algn="just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E25DF8B9-F230-475A-A2C2-4B765CB5360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15208" y="3728194"/>
            <a:ext cx="2664000" cy="1106487"/>
          </a:xfrm>
        </p:spPr>
        <p:txBody>
          <a:bodyPr lIns="54000" tIns="36000" rIns="36000" bIns="36000"/>
          <a:lstStyle>
            <a:lvl1pPr marL="0" inden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33C84085-71E8-457D-8C9C-350F5A46CC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15208" y="6254254"/>
            <a:ext cx="2664000" cy="252000"/>
          </a:xfrm>
        </p:spPr>
        <p:txBody>
          <a:bodyPr lIns="54000" tIns="36000" rIns="36000" bIns="36000"/>
          <a:lstStyle>
            <a:lvl1pPr marL="0" indent="0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11665D1-E656-413D-8788-0176DAD132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32107" y="1861782"/>
            <a:ext cx="6282000" cy="4488298"/>
          </a:xfrm>
        </p:spPr>
        <p:txBody>
          <a:bodyPr lIns="54000" tIns="36000" rIns="36000" bIns="36000" numCol="2" spcCol="25200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7240726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alu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rmat Background… &gt; Picture or texture fill &gt; Set to one of the dark or mid gradient options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94AA491-F1F8-4D38-B722-DB2F38B198B8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382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3608">
          <p15:clr>
            <a:srgbClr val="C35E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Logo centere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alut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104FBB-E799-42A8-A4FA-483DC489523D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rmat Background… &gt; Picture or texture fill &gt; Set to one of the dark or mid gradient options</a:t>
            </a:r>
          </a:p>
        </p:txBody>
      </p:sp>
      <p:grpSp>
        <p:nvGrpSpPr>
          <p:cNvPr id="12" name="Logo_WH" descr="Accenture logo in white">
            <a:extLst>
              <a:ext uri="{FF2B5EF4-FFF2-40B4-BE49-F238E27FC236}">
                <a16:creationId xmlns:a16="http://schemas.microsoft.com/office/drawing/2014/main" id="{0D82E30B-4E95-4B73-9014-71990AE21DBE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08CD909-AC78-4980-BB04-8608F18CDC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B5D8E88-5919-40A0-A4A4-2E6587AD687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02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pos="3840">
          <p15:clr>
            <a:srgbClr val="C35EA4"/>
          </p15:clr>
        </p15:guide>
        <p15:guide id="3" orient="horz" pos="2160">
          <p15:clr>
            <a:srgbClr val="C35E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Key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0463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lutation-GTS left-image bkg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E7551B-7F86-46D2-A90B-DF5CC30BDF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alutation 72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GTS_WH" descr="Accenture Greater Than symbol in white">
            <a:extLst>
              <a:ext uri="{FF2B5EF4-FFF2-40B4-BE49-F238E27FC236}">
                <a16:creationId xmlns:a16="http://schemas.microsoft.com/office/drawing/2014/main" id="{5820492B-C4D2-42F2-B2B8-CB1CE70F894B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0999" y="5607812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3841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C35E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96968C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7300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67CB869-86C7-4B5D-B21D-C7104400ECFC}"/>
              </a:ext>
            </a:extLst>
          </p:cNvPr>
          <p:cNvSpPr/>
          <p:nvPr userDrawn="1"/>
        </p:nvSpPr>
        <p:spPr bwMode="black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101C55-360F-4A30-88C9-2A386C411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5282245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5527522"/>
            <a:ext cx="3102015" cy="784378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772B66-01D8-4BE7-AE8E-C64CA1CF266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1429154"/>
            <a:ext cx="5152292" cy="225571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C9F1450-A172-44DF-9DE8-E648764972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71190"/>
            <a:ext cx="5152292" cy="1092846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lnSpc>
                <a:spcPct val="90000"/>
              </a:lnSpc>
              <a:buNone/>
              <a:defRPr lang="en-US" sz="2400" b="0" i="0" kern="1200" spc="0" dirty="0">
                <a:solidFill>
                  <a:schemeClr val="tx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1D1C16-1E67-46BA-A7F0-31738E52069F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96968C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09622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Rg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938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Rg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04306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DCA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4377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5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9" name="GTS_WH" descr="Accenture Greater Than symbol in white">
            <a:extLst>
              <a:ext uri="{FF2B5EF4-FFF2-40B4-BE49-F238E27FC236}">
                <a16:creationId xmlns:a16="http://schemas.microsoft.com/office/drawing/2014/main" id="{08C622A3-6AC3-418E-A8AE-75B117754CF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381001" y="560781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6575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6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12688DA9-25EC-4AC3-AD0E-0CC139E116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79EB0A-2DCA-4410-A834-F9A425FF96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464481-354D-44BF-B8B2-E0AFA2830FD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grpSp>
        <p:nvGrpSpPr>
          <p:cNvPr id="9" name="Logo_WH" descr="Accenture logo in white">
            <a:extLst>
              <a:ext uri="{FF2B5EF4-FFF2-40B4-BE49-F238E27FC236}">
                <a16:creationId xmlns:a16="http://schemas.microsoft.com/office/drawing/2014/main" id="{BA79480B-BE6F-49EC-829D-D8AF858ABFD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81001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0D6DAB6-FE72-4647-9B94-83468BA6B4A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6961114-35B1-4F8E-96CC-0CA3D18133F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36657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7 Acquisition+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84A5767-82AC-46A2-88DD-C31D51E1CB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9B6BF12D-A981-4F4E-B8F1-FF12DC840F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en-US"/>
              <a:t>Add client logo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659D61A8-47A5-47C2-A85A-BCCCBE83C91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1001" y="381001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4394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B818ECE-32D7-4F71-A6CA-1144DA38ED6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grpSp>
        <p:nvGrpSpPr>
          <p:cNvPr id="8" name="Logo_BL" descr="Accenture logo in black and purple">
            <a:extLst>
              <a:ext uri="{FF2B5EF4-FFF2-40B4-BE49-F238E27FC236}">
                <a16:creationId xmlns:a16="http://schemas.microsoft.com/office/drawing/2014/main" id="{35D3F8C8-B2E5-431B-9639-9F0553086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AD7BAC9-11D9-4846-95CD-5C2B82714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CAEDE4E-DAF3-4FBC-BAEB-E0C26C20EB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2333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381001" y="4190668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EFDB83-09AD-4E52-93C8-E24DAC9705F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96968C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0" name="Graphic 9" descr="Accenture Greater Than symbol in purple">
            <a:extLst>
              <a:ext uri="{FF2B5EF4-FFF2-40B4-BE49-F238E27FC236}">
                <a16:creationId xmlns:a16="http://schemas.microsoft.com/office/drawing/2014/main" id="{299A6723-3F53-4981-840E-D1D62874F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5607811"/>
            <a:ext cx="641502" cy="70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9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3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19749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718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4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771526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US"/>
              <a:t>Add client logo</a:t>
            </a:r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1C5BF709-3623-4620-9FF0-B8F8076A8BE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147183" y="5815542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7B64CB8-485B-4A84-AF6D-C9EF2955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4AE1E9A-205A-4C25-A6CD-8452DDD299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7075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A764EB37-3299-4AEF-9398-9D9C84AB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15" name="Date Placeholder 10">
            <a:extLst>
              <a:ext uri="{FF2B5EF4-FFF2-40B4-BE49-F238E27FC236}">
                <a16:creationId xmlns:a16="http://schemas.microsoft.com/office/drawing/2014/main" id="{C1D8BA10-E028-4E4B-A19C-12B864B010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09D55F2-CAE5-4C0F-8D54-A28CECDB93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AA97401-81EE-4280-A94C-955E96B005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Rg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DC0C86-80A9-481C-A2D5-6F509B89192B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8" name="GTS_WH" descr="Accenture Greater Than symbol in white">
            <a:extLst>
              <a:ext uri="{FF2B5EF4-FFF2-40B4-BE49-F238E27FC236}">
                <a16:creationId xmlns:a16="http://schemas.microsoft.com/office/drawing/2014/main" id="{C703F910-26EC-4B07-B522-B28DEB82C3E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5779386" y="5382386"/>
            <a:ext cx="641531" cy="70408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5136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05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5 Acqui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733891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4734391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4979668"/>
            <a:ext cx="4114799" cy="548640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31B51-29F3-4C51-AE6C-41E7796F9933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12" name="Picture Placeholder 11" descr="Image placeholder for client logo">
            <a:extLst>
              <a:ext uri="{FF2B5EF4-FFF2-40B4-BE49-F238E27FC236}">
                <a16:creationId xmlns:a16="http://schemas.microsoft.com/office/drawing/2014/main" id="{75547ED6-CAEB-47AC-A74D-49C552BD6F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8417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US"/>
              <a:t>Add client logo</a:t>
            </a:r>
          </a:p>
        </p:txBody>
      </p:sp>
      <p:grpSp>
        <p:nvGrpSpPr>
          <p:cNvPr id="9" name="Logo_BL" descr="Accenture logo in black and purple">
            <a:extLst>
              <a:ext uri="{FF2B5EF4-FFF2-40B4-BE49-F238E27FC236}">
                <a16:creationId xmlns:a16="http://schemas.microsoft.com/office/drawing/2014/main" id="{8D3E8DD1-C700-46AC-AA94-9072B0F3175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49093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99A1684-BC33-4579-B840-616EB6D11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5AD5E73-6E1C-44F8-9F73-9F3D4F6DF7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7679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6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38B557E5-FD3E-49D7-8F2D-F2CFBA8CA1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384048"/>
            <a:ext cx="5715000" cy="2478024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434840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206240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Picture Placeholder 11" descr="Image placeholder for client logo">
            <a:extLst>
              <a:ext uri="{FF2B5EF4-FFF2-40B4-BE49-F238E27FC236}">
                <a16:creationId xmlns:a16="http://schemas.microsoft.com/office/drawing/2014/main" id="{FFB79963-9269-41F8-B968-34FCB68C87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26766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US"/>
              <a:t>Add client logo</a:t>
            </a:r>
          </a:p>
        </p:txBody>
      </p:sp>
      <p:grpSp>
        <p:nvGrpSpPr>
          <p:cNvPr id="10" name="Logo_BL" descr="Accenture logo in black and purple">
            <a:extLst>
              <a:ext uri="{FF2B5EF4-FFF2-40B4-BE49-F238E27FC236}">
                <a16:creationId xmlns:a16="http://schemas.microsoft.com/office/drawing/2014/main" id="{854C139D-5D17-4D1A-87BD-07B345E2E51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81001" y="5815543"/>
            <a:ext cx="1883664" cy="496357"/>
            <a:chOff x="2387" y="1701"/>
            <a:chExt cx="4535" cy="119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6073E091-2A74-4D4D-8C42-D39E8FD65A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0" y="1701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A1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DB984E3-DACF-4D7C-B5E4-08F21BF13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87" y="2204"/>
              <a:ext cx="4535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3369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7 Acquisition+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A715308A-2B7A-4485-A51C-F3F23FC426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7161CB-9748-47B4-8746-547E8A91529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96968C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C428014-9969-4841-B19D-25CB7221F2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81001" y="1322687"/>
            <a:ext cx="5715000" cy="1769720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6D52D49F-987F-4EF2-8666-9805763F686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81001" y="333273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784963B7-4AB8-4BD6-B942-182C4FFFB2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81001" y="4670852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34" name="Date Placeholder 10">
            <a:extLst>
              <a:ext uri="{FF2B5EF4-FFF2-40B4-BE49-F238E27FC236}">
                <a16:creationId xmlns:a16="http://schemas.microsoft.com/office/drawing/2014/main" id="{7722ECA6-F4B8-4408-987A-6078074CB3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black">
          <a:xfrm>
            <a:off x="381001" y="4425575"/>
            <a:ext cx="3253153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5" name="Graphic 4" descr="Accenture Greater Than symbol in purple">
            <a:extLst>
              <a:ext uri="{FF2B5EF4-FFF2-40B4-BE49-F238E27FC236}">
                <a16:creationId xmlns:a16="http://schemas.microsoft.com/office/drawing/2014/main" id="{8DD1DFCC-5489-470C-84F4-93032F0960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636" y="382725"/>
            <a:ext cx="641502" cy="704088"/>
          </a:xfrm>
          <a:prstGeom prst="rect">
            <a:avLst/>
          </a:prstGeom>
        </p:spPr>
      </p:pic>
      <p:sp>
        <p:nvSpPr>
          <p:cNvPr id="13" name="Picture Placeholder 11" descr="Image placeholder for client logo">
            <a:extLst>
              <a:ext uri="{FF2B5EF4-FFF2-40B4-BE49-F238E27FC236}">
                <a16:creationId xmlns:a16="http://schemas.microsoft.com/office/drawing/2014/main" id="{05B9195C-3F7A-4A18-80FA-FB81E2ECDE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1001" y="5326815"/>
            <a:ext cx="1884233" cy="985085"/>
          </a:xfrm>
        </p:spPr>
        <p:txBody>
          <a:bodyPr anchor="ctr"/>
          <a:lstStyle>
            <a:lvl1pPr algn="ctr">
              <a:buNone/>
              <a:defRPr sz="1400"/>
            </a:lvl1pPr>
          </a:lstStyle>
          <a:p>
            <a:r>
              <a:rPr lang="en-GB"/>
              <a:t>Add client log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29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ccenture Gradient Dark">
            <a:extLst>
              <a:ext uri="{FF2B5EF4-FFF2-40B4-BE49-F238E27FC236}">
                <a16:creationId xmlns:a16="http://schemas.microsoft.com/office/drawing/2014/main" id="{86F62995-A1F7-47A0-AD35-CBADA97239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/>
          <a:stretch/>
        </p:blipFill>
        <p:spPr bwMode="invGray"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61CA96-71E3-F941-B41E-52928AB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47421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US"/>
              <a:t>Place subtitle here in GT Sectra Fine Rg 24pt</a:t>
            </a:r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0" name="GTS_WH" descr="Accenture Greater Than symbol in white">
            <a:extLst>
              <a:ext uri="{FF2B5EF4-FFF2-40B4-BE49-F238E27FC236}">
                <a16:creationId xmlns:a16="http://schemas.microsoft.com/office/drawing/2014/main" id="{4B2379EA-B598-42DD-B03E-5C4FC1D468F3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0387B-1E9C-4EB7-9BA3-83AB796E35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BB825C-3912-400B-A9ED-F17A35596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0235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ccenture Gradient Mid&#10;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381000"/>
            <a:ext cx="4953000" cy="5703315"/>
          </a:xfrm>
          <a:noFill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1" y="381000"/>
            <a:ext cx="4952999" cy="3915092"/>
          </a:xfrm>
        </p:spPr>
        <p:txBody>
          <a:bodyPr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88312-3597-964E-9B24-8371E2C856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10099"/>
            <a:ext cx="4953000" cy="170180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US"/>
              <a:t>Place subtitle here in GT Sectra Fine Rg 24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C3F0890-0DED-4AD1-9A02-BD56F8554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4" name="GTS_WH" descr="Accenture Greater Than symbol in white">
            <a:extLst>
              <a:ext uri="{FF2B5EF4-FFF2-40B4-BE49-F238E27FC236}">
                <a16:creationId xmlns:a16="http://schemas.microsoft.com/office/drawing/2014/main" id="{3FC0722F-C643-4988-96E8-F00519CB3A00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69A96-ECEE-46C8-AC65-A99027BA92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25484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centure Gradient Mid">
            <a:extLst>
              <a:ext uri="{FF2B5EF4-FFF2-40B4-BE49-F238E27FC236}">
                <a16:creationId xmlns:a16="http://schemas.microsoft.com/office/drawing/2014/main" id="{CB16898D-3DD4-439C-B43F-558C1FDD3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0" y="0"/>
            <a:ext cx="12192000" cy="3428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015D5F-F315-4E58-856E-56BC8490AECE}"/>
              </a:ext>
            </a:extLst>
          </p:cNvPr>
          <p:cNvSpPr/>
          <p:nvPr userDrawn="1"/>
        </p:nvSpPr>
        <p:spPr bwMode="white">
          <a:xfrm>
            <a:off x="0" y="3428999"/>
            <a:ext cx="12192000" cy="3429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3889828"/>
            <a:ext cx="6186713" cy="2422072"/>
          </a:xfrm>
        </p:spPr>
        <p:txBody>
          <a:bodyPr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43001" y="835805"/>
            <a:ext cx="6186712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CC28DDD-91C9-FB49-B057-796687C8B0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5427" y="3889827"/>
            <a:ext cx="2993573" cy="2422071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Palatino Linotype" pitchFamily="2" charset="77"/>
              </a:defRPr>
            </a:lvl5pPr>
          </a:lstStyle>
          <a:p>
            <a:pPr lvl="0"/>
            <a:r>
              <a:rPr lang="en-US"/>
              <a:t>Place subtitle here in GT Sectra Fine Rg 24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230B8D6-1525-4D29-A117-F22A9C16F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6" name="GTS_WH" descr="Accenture Greater Than symbol in white">
            <a:extLst>
              <a:ext uri="{FF2B5EF4-FFF2-40B4-BE49-F238E27FC236}">
                <a16:creationId xmlns:a16="http://schemas.microsoft.com/office/drawing/2014/main" id="{C5173724-68B6-47CD-B850-71B1407EEAA1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4ADF7-CE17-4A46-8A63-A366F9BB14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319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69933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subtitle here in GT Sectra Fine Rg 24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1" cy="81039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genda tit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1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1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1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1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1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1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1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1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6242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6242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6242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6242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26242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6242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6242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6242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/>
          <p:nvPr userDrawn="1"/>
        </p:nvCxnSpPr>
        <p:spPr>
          <a:xfrm>
            <a:off x="4045241" y="1371600"/>
            <a:ext cx="0" cy="471948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2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9" cy="485340"/>
          </a:xfrm>
        </p:spPr>
        <p:txBody>
          <a:bodyPr anchor="ctr"/>
          <a:lstStyle>
            <a:lvl1pPr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US"/>
              <a:t>Insert agenda item</a:t>
            </a:r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317230" y="137160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17230" y="197647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17230" y="2581356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17230" y="3186234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17230" y="3791112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17230" y="4395990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17230" y="5000868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17230" y="5605747"/>
            <a:ext cx="405128" cy="485340"/>
          </a:xfr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##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1BE3C-F523-44EE-B6D4-7175CE08E157}"/>
              </a:ext>
            </a:extLst>
          </p:cNvPr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96CD18-ADDA-4A64-BDD0-F5A8D01FDD49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9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0"/>
            <a:ext cx="11430000" cy="4940300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/>
            </a:lvl1pPr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4E1CDE7-C850-4F14-8D26-8BD1EE3D6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BEF25E-6F09-4B47-806E-462D7622D1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9863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 and 1 Column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8033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949194"/>
            <a:ext cx="11430000" cy="4362706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385C65-6BFC-4F61-A214-71B69537B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6E1154F-E5DD-468F-85D1-17FC4F438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699EEA-1839-42AE-A096-1905CABA2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928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E55EA4F-E473-41EF-9E00-3D69D5F1AE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21878" y="1336294"/>
            <a:ext cx="7948244" cy="2255710"/>
          </a:xfrm>
        </p:spPr>
        <p:txBody>
          <a:bodyPr anchor="b"/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6" name="Date Placeholder 10">
            <a:extLst>
              <a:ext uri="{FF2B5EF4-FFF2-40B4-BE49-F238E27FC236}">
                <a16:creationId xmlns:a16="http://schemas.microsoft.com/office/drawing/2014/main" id="{0AF5D71E-5FA3-4080-B28F-B3110AB34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4992" y="4501939"/>
            <a:ext cx="3102015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ctr" defTabSz="914400" rtl="0" eaLnBrk="1" latinLnBrk="0" hangingPunct="1"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51481AAC-1471-4278-A104-D559B82B52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44992" y="4747217"/>
            <a:ext cx="3102015" cy="245276"/>
          </a:xfrm>
        </p:spPr>
        <p:txBody>
          <a:bodyPr/>
          <a:lstStyle>
            <a:lvl1pPr marL="0" indent="0" algn="ctr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BEB3B30-172A-47BC-8F00-43F601E1F8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879" y="3866920"/>
            <a:ext cx="7948244" cy="633734"/>
          </a:xfrm>
        </p:spPr>
        <p:txBody>
          <a:bodyPr vert="horz" lIns="0" tIns="0" rIns="0" bIns="0" rtlCol="0">
            <a:noAutofit/>
          </a:bodyPr>
          <a:lstStyle>
            <a:lvl1pPr marL="0" indent="0" algn="ctr">
              <a:lnSpc>
                <a:spcPct val="90000"/>
              </a:lnSpc>
              <a:buNone/>
              <a:defRPr lang="en-US" sz="2400" i="0" spc="0" dirty="0" smtClean="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2pPr>
            <a:lvl3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3pPr>
            <a:lvl4pPr marL="0" algn="ctr">
              <a:lnSpc>
                <a:spcPct val="90000"/>
              </a:lnSpc>
              <a:spcAft>
                <a:spcPts val="600"/>
              </a:spcAft>
              <a:defRPr lang="en-US" sz="2400" dirty="0" smtClean="0">
                <a:solidFill>
                  <a:srgbClr val="E6DCFF"/>
                </a:solidFill>
                <a:latin typeface="Palatino Linotype" panose="00000500000000000000" pitchFamily="50" charset="0"/>
              </a:defRPr>
            </a:lvl4pPr>
            <a:lvl5pPr marL="0" algn="ctr">
              <a:lnSpc>
                <a:spcPct val="90000"/>
              </a:lnSpc>
              <a:spcAft>
                <a:spcPts val="600"/>
              </a:spcAft>
              <a:defRPr lang="en-US" sz="2400" dirty="0">
                <a:solidFill>
                  <a:srgbClr val="E6DCFF"/>
                </a:solidFill>
                <a:latin typeface="Palatino Linotype" panose="00000500000000000000" pitchFamily="50" charset="0"/>
              </a:defRPr>
            </a:lvl5pPr>
          </a:lstStyle>
          <a:p>
            <a:pPr marL="228600" lvl="0" indent="-228600" defTabSz="914400">
              <a:spcAft>
                <a:spcPts val="0"/>
              </a:spcAft>
            </a:pPr>
            <a:r>
              <a:rPr lang="en-US"/>
              <a:t>Place subtitle here in GT Sectra Fine Rg 24p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481612-058D-4A52-B93E-53E75F305C81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C6212C50-BB96-4C0C-BC89-2B3C8082149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154167" y="5374201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A65B91D-87CB-4DC8-B4B1-CE82A8E5C6F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102C68A-98DA-4EBB-AAFF-D0C6E56ADE1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2397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6">
          <p15:clr>
            <a:srgbClr val="C35EA4"/>
          </p15:clr>
        </p15:guide>
        <p15:guide id="2" pos="3840">
          <p15:clr>
            <a:srgbClr val="C35E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Headline + GT Sect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004457"/>
            <a:ext cx="5524500" cy="2865991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Rg 24pt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CC1513EB-EC9B-9B42-BA12-BC659505A7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86499" y="1371601"/>
            <a:ext cx="5524500" cy="45024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371601"/>
            <a:ext cx="5524499" cy="1632856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0A51E00B-3AD2-4131-A1AF-268183551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5BAA4F-3169-4083-866F-71669DE39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6014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20">
          <p15:clr>
            <a:srgbClr val="C35E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987552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371600"/>
            <a:ext cx="5524499" cy="493776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BB8772-B000-40EC-8AE7-3AA41499E64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490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1947672"/>
            <a:ext cx="5524499" cy="43616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080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8830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286499" y="1949194"/>
            <a:ext cx="55245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0999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286500" y="2772154"/>
            <a:ext cx="5524499" cy="3101872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5F1A8-92F0-48CE-B27D-E2B7EE762F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054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18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318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18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55000" y="2286000"/>
            <a:ext cx="355600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8255000" y="3108960"/>
            <a:ext cx="3556000" cy="2761488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marL="11113" lvl="5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503030202060203" pitchFamily="34" charset="0"/>
              <a:buNone/>
              <a:tabLst/>
            </a:pPr>
            <a:r>
              <a:rPr lang="en-US"/>
              <a:t>Sixth level 12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55000" y="1828800"/>
            <a:ext cx="355600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74BDB1-DA1D-43EC-81BC-66135DB7B8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FE860E3B-7BAE-4917-8F29-26AFBD0E7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D7C41-6360-43FF-A192-982014655EF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3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2286000"/>
            <a:ext cx="2571749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81000" y="1828800"/>
            <a:ext cx="2571749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337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337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8650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8650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39250" y="2286000"/>
            <a:ext cx="2571750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39250" y="1828800"/>
            <a:ext cx="2571750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BDC2B1A-D3A0-C04B-AEDB-0389C637EF1A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81000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F6CE73-9C88-264F-A7F2-A3D2B2D1938B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3337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5F289FE6-F2A2-784D-9D31-047C10F04CDF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6286500" y="3145138"/>
            <a:ext cx="2571749" cy="2725310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079B5C1-1D0F-8F40-A376-4AE3B49D1B5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9239251" y="3108959"/>
            <a:ext cx="2571749" cy="2761615"/>
          </a:xfrm>
        </p:spPr>
        <p:txBody>
          <a:bodyPr/>
          <a:lstStyle>
            <a:lvl1pPr>
              <a:spcAft>
                <a:spcPts val="600"/>
              </a:spcAft>
              <a:defRPr sz="1800"/>
            </a:lvl1pPr>
            <a:lvl2pPr>
              <a:spcAft>
                <a:spcPts val="600"/>
              </a:spcAft>
              <a:defRPr sz="1800"/>
            </a:lvl2pPr>
            <a:lvl3pPr>
              <a:spcAft>
                <a:spcPts val="600"/>
              </a:spcAft>
              <a:defRPr sz="18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  <a:lvl6pPr>
              <a:defRPr sz="12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3000718-AD47-4F1E-8F71-56356C9406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BF3E00-F066-4583-A5B1-87DD19666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0999"/>
            <a:ext cx="11429999" cy="793837"/>
          </a:xfrm>
        </p:spPr>
        <p:txBody>
          <a:bodyPr/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5650FA89-A64B-4802-B6DF-D1844A8430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D5B1DD8-C71C-4D65-A58A-0A9A86DCED8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4205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5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79882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898899"/>
            <a:ext cx="1985504" cy="1971541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3898899"/>
            <a:ext cx="1985504" cy="197961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None/>
              <a:defRPr sz="2000" b="1">
                <a:latin typeface="+mj-lt"/>
              </a:defRPr>
            </a:lvl1pPr>
            <a:lvl2pPr marL="0" indent="0" algn="ctr">
              <a:spcAft>
                <a:spcPts val="600"/>
              </a:spcAft>
              <a:buNone/>
              <a:defRPr sz="1600"/>
            </a:lvl2pPr>
            <a:lvl3pPr marL="0" indent="0" algn="ctr">
              <a:spcAft>
                <a:spcPts val="600"/>
              </a:spcAft>
              <a:buNone/>
              <a:defRPr sz="1200"/>
            </a:lvl3pPr>
            <a:lvl4pPr marL="182880" indent="-182880" algn="ctr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 20pt</a:t>
            </a:r>
          </a:p>
          <a:p>
            <a:pPr lvl="1"/>
            <a:r>
              <a:rPr lang="en-US"/>
              <a:t>Details 16pt</a:t>
            </a:r>
          </a:p>
          <a:p>
            <a:pPr lvl="2"/>
            <a:r>
              <a:rPr lang="en-US"/>
              <a:t>More details 12pt</a:t>
            </a:r>
          </a:p>
          <a:p>
            <a:pPr lvl="3"/>
            <a:r>
              <a:rPr lang="en-US"/>
              <a:t>Bullet point 12p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0" name="Picture Placeholder 1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57676F53-2AF5-4F44-9119-3C3347D1DA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8D97977-AAE6-4533-93CA-ADE704E9F4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234440"/>
            <a:ext cx="11430000" cy="384048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US"/>
              <a:t>Place subtitle here in GT Sectra Fine Rg 20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3E087-C0E5-4045-83EC-D0F38053E0B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1753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4-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54655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817351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80047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560513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91440" tIns="91440" rIns="0" bIns="0" rtlCol="0">
            <a:noAutofit/>
          </a:bodyPr>
          <a:lstStyle>
            <a:lvl1pPr marL="0" indent="0">
              <a:buNone/>
              <a:defRPr lang="en-US" sz="180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54653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350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0047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3914042"/>
            <a:ext cx="2047984" cy="23978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lang="en-US" sz="21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 21pt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310CF55-0D9B-41F8-8D1E-8BA74BC23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481D5-3713-4165-990F-CD2E7B955A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12444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6-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lIns="91440" tIns="0"/>
          <a:lstStyle>
            <a:lvl1pPr marL="0" indent="0">
              <a:buNone/>
              <a:defRPr sz="1800" b="0"/>
            </a:lvl1pPr>
          </a:lstStyle>
          <a:p>
            <a:r>
              <a:rPr lang="en-US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3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D665DCA-734C-4077-92CB-D7A9FCD67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3D474A-8A06-4078-BEBB-EBDCDD30231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9FEF6117-B6D9-4841-8EFA-DF78BCFA9C0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77415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90B0A6BB-BC70-4436-B334-35CF914D177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EA23CA56-3568-4982-84E5-176DE32541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7E019EA7-B58E-4B17-A663-2E8CCD70158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9A57066F-5BF5-43F7-A9DA-1788B5511DA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EA5F90EC-FB85-4041-85C1-409768D3A0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72216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2846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Headline-Team 6-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lIns="91440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dd profile photo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6104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31208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06312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56520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3926552"/>
            <a:ext cx="1554480" cy="1943892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3236" y="3926552"/>
            <a:ext cx="1554480" cy="1951961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31" name="Picture Placeholder 13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81416" y="1845611"/>
            <a:ext cx="1554480" cy="1554480"/>
          </a:xfrm>
          <a:solidFill>
            <a:schemeClr val="tx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50" name="Text Placeholder 21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9057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1" name="Text Placeholder 21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4878" y="3926552"/>
            <a:ext cx="1554480" cy="195196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6DA3268F-5CC4-7E4D-879D-3A3F1FBF6B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0699" y="3926552"/>
            <a:ext cx="1554480" cy="195195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53" name="Text Placeholder 21">
            <a:extLst>
              <a:ext uri="{FF2B5EF4-FFF2-40B4-BE49-F238E27FC236}">
                <a16:creationId xmlns:a16="http://schemas.microsoft.com/office/drawing/2014/main" id="{855592D2-902A-1146-B433-6648BEC878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56520" y="3926552"/>
            <a:ext cx="1554480" cy="1943890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600"/>
              </a:spcAft>
              <a:buNone/>
              <a:defRPr sz="1600"/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 21</a:t>
            </a:r>
          </a:p>
          <a:p>
            <a:pPr lvl="1"/>
            <a:r>
              <a:rPr lang="en-US"/>
              <a:t>Role 16pt</a:t>
            </a:r>
          </a:p>
          <a:p>
            <a:pPr lvl="2"/>
            <a:r>
              <a:rPr lang="en-US"/>
              <a:t>Short bio 12pt</a:t>
            </a:r>
          </a:p>
          <a:p>
            <a:pPr lvl="3"/>
            <a:r>
              <a:rPr lang="en-US"/>
              <a:t>Bullet point 12pt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F748F9AD-5F56-42EC-9922-780EBA443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2" name="GTS_WH" descr="Accenture Greater Than symbol in white">
            <a:extLst>
              <a:ext uri="{FF2B5EF4-FFF2-40B4-BE49-F238E27FC236}">
                <a16:creationId xmlns:a16="http://schemas.microsoft.com/office/drawing/2014/main" id="{B49891DC-D80E-4D1B-961E-1B567E0E453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8FB076-B311-496F-8C11-2C54B06FBB3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199DF3DD-2E34-4D79-8E11-12CE813E73F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100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6FCD1A94-A214-4264-842C-B5DA710C1F3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56104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95C1CB4-E517-4380-8170-E8C0CA787FB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1208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6AFBE91E-BB56-4FAF-ADEB-859CA86F829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306312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15D78B8A-7ECF-44EE-A95F-FBD072A688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281416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F2F64C30-F694-4DC6-AAED-5ECA99ECCF5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256520" y="3647164"/>
            <a:ext cx="457200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8345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Black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1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60pt, long title 48pt,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4000500"/>
            <a:ext cx="6884561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rgbClr val="E6DCFF"/>
                </a:solidFill>
                <a:latin typeface="GT Sectra Fine Rg" panose="000005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Rg 24pt</a:t>
            </a:r>
          </a:p>
        </p:txBody>
      </p:sp>
      <p:sp>
        <p:nvSpPr>
          <p:cNvPr id="13" name="Date Placeholder 10">
            <a:extLst>
              <a:ext uri="{FF2B5EF4-FFF2-40B4-BE49-F238E27FC236}">
                <a16:creationId xmlns:a16="http://schemas.microsoft.com/office/drawing/2014/main" id="{47AA0BD1-514A-4E33-A0FD-DF2342E79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093" y="5107308"/>
            <a:ext cx="4114799" cy="2452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latinLnBrk="0" hangingPunct="1">
              <a:defRPr lang="en-US" sz="1400" b="1" kern="120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DCA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4"/>
            <a:ext cx="4114799" cy="959315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DFBD97-7A23-4453-9DFC-F825350AF9B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Go to Brand Space for more cover options</a:t>
            </a:r>
          </a:p>
        </p:txBody>
      </p:sp>
      <p:grpSp>
        <p:nvGrpSpPr>
          <p:cNvPr id="8" name="Logo_WH" descr="Accenture logo in white">
            <a:extLst>
              <a:ext uri="{FF2B5EF4-FFF2-40B4-BE49-F238E27FC236}">
                <a16:creationId xmlns:a16="http://schemas.microsoft.com/office/drawing/2014/main" id="{1A7501AC-E717-4CB3-89D9-DEE7B06E187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9153213" y="5815652"/>
            <a:ext cx="1883664" cy="496247"/>
            <a:chOff x="1561" y="187"/>
            <a:chExt cx="4536" cy="119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84F1646-52FE-4716-AED1-FE252A8E05E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205" y="187"/>
              <a:ext cx="447" cy="473"/>
            </a:xfrm>
            <a:custGeom>
              <a:avLst/>
              <a:gdLst>
                <a:gd name="T0" fmla="*/ 0 w 931"/>
                <a:gd name="T1" fmla="*/ 696 h 985"/>
                <a:gd name="T2" fmla="*/ 544 w 931"/>
                <a:gd name="T3" fmla="*/ 494 h 985"/>
                <a:gd name="T4" fmla="*/ 0 w 931"/>
                <a:gd name="T5" fmla="*/ 281 h 985"/>
                <a:gd name="T6" fmla="*/ 0 w 931"/>
                <a:gd name="T7" fmla="*/ 0 h 985"/>
                <a:gd name="T8" fmla="*/ 931 w 931"/>
                <a:gd name="T9" fmla="*/ 375 h 985"/>
                <a:gd name="T10" fmla="*/ 931 w 931"/>
                <a:gd name="T11" fmla="*/ 608 h 985"/>
                <a:gd name="T12" fmla="*/ 0 w 931"/>
                <a:gd name="T13" fmla="*/ 985 h 985"/>
                <a:gd name="T14" fmla="*/ 0 w 931"/>
                <a:gd name="T15" fmla="*/ 69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1" h="985">
                  <a:moveTo>
                    <a:pt x="0" y="696"/>
                  </a:moveTo>
                  <a:lnTo>
                    <a:pt x="544" y="494"/>
                  </a:lnTo>
                  <a:lnTo>
                    <a:pt x="0" y="281"/>
                  </a:lnTo>
                  <a:lnTo>
                    <a:pt x="0" y="0"/>
                  </a:lnTo>
                  <a:lnTo>
                    <a:pt x="931" y="375"/>
                  </a:lnTo>
                  <a:lnTo>
                    <a:pt x="931" y="608"/>
                  </a:lnTo>
                  <a:lnTo>
                    <a:pt x="0" y="985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5FBA828-A6EE-4CDC-A2F1-52C5DC0E3C3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1561" y="690"/>
              <a:ext cx="4536" cy="692"/>
            </a:xfrm>
            <a:custGeom>
              <a:avLst/>
              <a:gdLst>
                <a:gd name="T0" fmla="*/ 8952 w 9448"/>
                <a:gd name="T1" fmla="*/ 519 h 1442"/>
                <a:gd name="T2" fmla="*/ 8431 w 9448"/>
                <a:gd name="T3" fmla="*/ 892 h 1442"/>
                <a:gd name="T4" fmla="*/ 9448 w 9448"/>
                <a:gd name="T5" fmla="*/ 819 h 1442"/>
                <a:gd name="T6" fmla="*/ 8967 w 9448"/>
                <a:gd name="T7" fmla="*/ 1221 h 1442"/>
                <a:gd name="T8" fmla="*/ 8961 w 9448"/>
                <a:gd name="T9" fmla="*/ 1442 h 1442"/>
                <a:gd name="T10" fmla="*/ 8008 w 9448"/>
                <a:gd name="T11" fmla="*/ 529 h 1442"/>
                <a:gd name="T12" fmla="*/ 8008 w 9448"/>
                <a:gd name="T13" fmla="*/ 859 h 1442"/>
                <a:gd name="T14" fmla="*/ 7704 w 9448"/>
                <a:gd name="T15" fmla="*/ 329 h 1442"/>
                <a:gd name="T16" fmla="*/ 7178 w 9448"/>
                <a:gd name="T17" fmla="*/ 1259 h 1442"/>
                <a:gd name="T18" fmla="*/ 6522 w 9448"/>
                <a:gd name="T19" fmla="*/ 329 h 1442"/>
                <a:gd name="T20" fmla="*/ 6987 w 9448"/>
                <a:gd name="T21" fmla="*/ 1205 h 1442"/>
                <a:gd name="T22" fmla="*/ 7483 w 9448"/>
                <a:gd name="T23" fmla="*/ 329 h 1442"/>
                <a:gd name="T24" fmla="*/ 6128 w 9448"/>
                <a:gd name="T25" fmla="*/ 329 h 1442"/>
                <a:gd name="T26" fmla="*/ 6128 w 9448"/>
                <a:gd name="T27" fmla="*/ 556 h 1442"/>
                <a:gd name="T28" fmla="*/ 6343 w 9448"/>
                <a:gd name="T29" fmla="*/ 1174 h 1442"/>
                <a:gd name="T30" fmla="*/ 5822 w 9448"/>
                <a:gd name="T31" fmla="*/ 1105 h 1442"/>
                <a:gd name="T32" fmla="*/ 5694 w 9448"/>
                <a:gd name="T33" fmla="*/ 329 h 1442"/>
                <a:gd name="T34" fmla="*/ 6128 w 9448"/>
                <a:gd name="T35" fmla="*/ 0 h 1442"/>
                <a:gd name="T36" fmla="*/ 4900 w 9448"/>
                <a:gd name="T37" fmla="*/ 492 h 1442"/>
                <a:gd name="T38" fmla="*/ 5559 w 9448"/>
                <a:gd name="T39" fmla="*/ 1419 h 1442"/>
                <a:gd name="T40" fmla="*/ 5092 w 9448"/>
                <a:gd name="T41" fmla="*/ 552 h 1442"/>
                <a:gd name="T42" fmla="*/ 4596 w 9448"/>
                <a:gd name="T43" fmla="*/ 1419 h 1442"/>
                <a:gd name="T44" fmla="*/ 4112 w 9448"/>
                <a:gd name="T45" fmla="*/ 748 h 1442"/>
                <a:gd name="T46" fmla="*/ 3921 w 9448"/>
                <a:gd name="T47" fmla="*/ 1442 h 1442"/>
                <a:gd name="T48" fmla="*/ 3910 w 9448"/>
                <a:gd name="T49" fmla="*/ 306 h 1442"/>
                <a:gd name="T50" fmla="*/ 3700 w 9448"/>
                <a:gd name="T51" fmla="*/ 950 h 1442"/>
                <a:gd name="T52" fmla="*/ 4408 w 9448"/>
                <a:gd name="T53" fmla="*/ 1080 h 1442"/>
                <a:gd name="T54" fmla="*/ 2257 w 9448"/>
                <a:gd name="T55" fmla="*/ 886 h 1442"/>
                <a:gd name="T56" fmla="*/ 3258 w 9448"/>
                <a:gd name="T57" fmla="*/ 717 h 1442"/>
                <a:gd name="T58" fmla="*/ 2568 w 9448"/>
                <a:gd name="T59" fmla="*/ 859 h 1442"/>
                <a:gd name="T60" fmla="*/ 2987 w 9448"/>
                <a:gd name="T61" fmla="*/ 1017 h 1442"/>
                <a:gd name="T62" fmla="*/ 1644 w 9448"/>
                <a:gd name="T63" fmla="*/ 1442 h 1442"/>
                <a:gd name="T64" fmla="*/ 1646 w 9448"/>
                <a:gd name="T65" fmla="*/ 306 h 1442"/>
                <a:gd name="T66" fmla="*/ 1653 w 9448"/>
                <a:gd name="T67" fmla="*/ 542 h 1442"/>
                <a:gd name="T68" fmla="*/ 1655 w 9448"/>
                <a:gd name="T69" fmla="*/ 1213 h 1442"/>
                <a:gd name="T70" fmla="*/ 1644 w 9448"/>
                <a:gd name="T71" fmla="*/ 1442 h 1442"/>
                <a:gd name="T72" fmla="*/ 529 w 9448"/>
                <a:gd name="T73" fmla="*/ 953 h 1442"/>
                <a:gd name="T74" fmla="*/ 450 w 9448"/>
                <a:gd name="T75" fmla="*/ 1230 h 1442"/>
                <a:gd name="T76" fmla="*/ 0 w 9448"/>
                <a:gd name="T77" fmla="*/ 1121 h 1442"/>
                <a:gd name="T78" fmla="*/ 650 w 9448"/>
                <a:gd name="T79" fmla="*/ 752 h 1442"/>
                <a:gd name="T80" fmla="*/ 325 w 9448"/>
                <a:gd name="T81" fmla="*/ 667 h 1442"/>
                <a:gd name="T82" fmla="*/ 954 w 9448"/>
                <a:gd name="T83" fmla="*/ 690 h 1442"/>
                <a:gd name="T84" fmla="*/ 656 w 9448"/>
                <a:gd name="T85" fmla="*/ 129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48" h="1442">
                  <a:moveTo>
                    <a:pt x="8744" y="748"/>
                  </a:moveTo>
                  <a:lnTo>
                    <a:pt x="9152" y="748"/>
                  </a:lnTo>
                  <a:cubicBezTo>
                    <a:pt x="9146" y="588"/>
                    <a:pt x="9073" y="519"/>
                    <a:pt x="8952" y="519"/>
                  </a:cubicBezTo>
                  <a:cubicBezTo>
                    <a:pt x="8857" y="519"/>
                    <a:pt x="8769" y="571"/>
                    <a:pt x="8744" y="748"/>
                  </a:cubicBezTo>
                  <a:close/>
                  <a:moveTo>
                    <a:pt x="8961" y="1442"/>
                  </a:moveTo>
                  <a:cubicBezTo>
                    <a:pt x="8646" y="1442"/>
                    <a:pt x="8431" y="1255"/>
                    <a:pt x="8431" y="892"/>
                  </a:cubicBezTo>
                  <a:lnTo>
                    <a:pt x="8431" y="871"/>
                  </a:lnTo>
                  <a:cubicBezTo>
                    <a:pt x="8431" y="507"/>
                    <a:pt x="8659" y="306"/>
                    <a:pt x="8950" y="306"/>
                  </a:cubicBezTo>
                  <a:cubicBezTo>
                    <a:pt x="9221" y="306"/>
                    <a:pt x="9448" y="459"/>
                    <a:pt x="9448" y="819"/>
                  </a:cubicBezTo>
                  <a:lnTo>
                    <a:pt x="9448" y="950"/>
                  </a:lnTo>
                  <a:lnTo>
                    <a:pt x="8740" y="950"/>
                  </a:lnTo>
                  <a:cubicBezTo>
                    <a:pt x="8752" y="1146"/>
                    <a:pt x="8836" y="1221"/>
                    <a:pt x="8967" y="1221"/>
                  </a:cubicBezTo>
                  <a:cubicBezTo>
                    <a:pt x="9084" y="1221"/>
                    <a:pt x="9146" y="1159"/>
                    <a:pt x="9167" y="1080"/>
                  </a:cubicBezTo>
                  <a:lnTo>
                    <a:pt x="9448" y="1080"/>
                  </a:lnTo>
                  <a:cubicBezTo>
                    <a:pt x="9415" y="1286"/>
                    <a:pt x="9246" y="1442"/>
                    <a:pt x="8961" y="1442"/>
                  </a:cubicBezTo>
                  <a:close/>
                  <a:moveTo>
                    <a:pt x="7704" y="329"/>
                  </a:moveTo>
                  <a:lnTo>
                    <a:pt x="8008" y="329"/>
                  </a:lnTo>
                  <a:lnTo>
                    <a:pt x="8008" y="529"/>
                  </a:lnTo>
                  <a:cubicBezTo>
                    <a:pt x="8073" y="383"/>
                    <a:pt x="8175" y="315"/>
                    <a:pt x="8335" y="315"/>
                  </a:cubicBezTo>
                  <a:lnTo>
                    <a:pt x="8335" y="615"/>
                  </a:lnTo>
                  <a:cubicBezTo>
                    <a:pt x="8129" y="615"/>
                    <a:pt x="8008" y="677"/>
                    <a:pt x="8008" y="859"/>
                  </a:cubicBezTo>
                  <a:lnTo>
                    <a:pt x="8008" y="1419"/>
                  </a:lnTo>
                  <a:lnTo>
                    <a:pt x="7704" y="1419"/>
                  </a:lnTo>
                  <a:lnTo>
                    <a:pt x="7704" y="329"/>
                  </a:lnTo>
                  <a:close/>
                  <a:moveTo>
                    <a:pt x="7483" y="1419"/>
                  </a:moveTo>
                  <a:lnTo>
                    <a:pt x="7178" y="1419"/>
                  </a:lnTo>
                  <a:lnTo>
                    <a:pt x="7178" y="1259"/>
                  </a:lnTo>
                  <a:cubicBezTo>
                    <a:pt x="7126" y="1363"/>
                    <a:pt x="7024" y="1442"/>
                    <a:pt x="6862" y="1442"/>
                  </a:cubicBezTo>
                  <a:cubicBezTo>
                    <a:pt x="6666" y="1442"/>
                    <a:pt x="6522" y="1323"/>
                    <a:pt x="6522" y="1067"/>
                  </a:cubicBezTo>
                  <a:lnTo>
                    <a:pt x="6522" y="329"/>
                  </a:lnTo>
                  <a:lnTo>
                    <a:pt x="6828" y="329"/>
                  </a:lnTo>
                  <a:lnTo>
                    <a:pt x="6828" y="1021"/>
                  </a:lnTo>
                  <a:cubicBezTo>
                    <a:pt x="6828" y="1146"/>
                    <a:pt x="6878" y="1205"/>
                    <a:pt x="6987" y="1205"/>
                  </a:cubicBezTo>
                  <a:cubicBezTo>
                    <a:pt x="7093" y="1205"/>
                    <a:pt x="7178" y="1138"/>
                    <a:pt x="7178" y="1003"/>
                  </a:cubicBezTo>
                  <a:lnTo>
                    <a:pt x="7178" y="329"/>
                  </a:lnTo>
                  <a:lnTo>
                    <a:pt x="7483" y="329"/>
                  </a:lnTo>
                  <a:lnTo>
                    <a:pt x="7483" y="1419"/>
                  </a:lnTo>
                  <a:close/>
                  <a:moveTo>
                    <a:pt x="6128" y="0"/>
                  </a:moveTo>
                  <a:lnTo>
                    <a:pt x="6128" y="329"/>
                  </a:lnTo>
                  <a:lnTo>
                    <a:pt x="6336" y="329"/>
                  </a:lnTo>
                  <a:lnTo>
                    <a:pt x="6336" y="556"/>
                  </a:lnTo>
                  <a:lnTo>
                    <a:pt x="6128" y="556"/>
                  </a:lnTo>
                  <a:lnTo>
                    <a:pt x="6128" y="1073"/>
                  </a:lnTo>
                  <a:cubicBezTo>
                    <a:pt x="6128" y="1155"/>
                    <a:pt x="6165" y="1192"/>
                    <a:pt x="6236" y="1192"/>
                  </a:cubicBezTo>
                  <a:cubicBezTo>
                    <a:pt x="6280" y="1192"/>
                    <a:pt x="6313" y="1186"/>
                    <a:pt x="6343" y="1174"/>
                  </a:cubicBezTo>
                  <a:lnTo>
                    <a:pt x="6343" y="1411"/>
                  </a:lnTo>
                  <a:cubicBezTo>
                    <a:pt x="6307" y="1422"/>
                    <a:pt x="6247" y="1434"/>
                    <a:pt x="6172" y="1434"/>
                  </a:cubicBezTo>
                  <a:cubicBezTo>
                    <a:pt x="5934" y="1434"/>
                    <a:pt x="5822" y="1326"/>
                    <a:pt x="5822" y="1105"/>
                  </a:cubicBezTo>
                  <a:lnTo>
                    <a:pt x="5822" y="556"/>
                  </a:lnTo>
                  <a:lnTo>
                    <a:pt x="5694" y="556"/>
                  </a:lnTo>
                  <a:lnTo>
                    <a:pt x="5694" y="329"/>
                  </a:lnTo>
                  <a:lnTo>
                    <a:pt x="5822" y="329"/>
                  </a:lnTo>
                  <a:lnTo>
                    <a:pt x="5822" y="125"/>
                  </a:lnTo>
                  <a:lnTo>
                    <a:pt x="6128" y="0"/>
                  </a:lnTo>
                  <a:close/>
                  <a:moveTo>
                    <a:pt x="4596" y="329"/>
                  </a:moveTo>
                  <a:lnTo>
                    <a:pt x="4900" y="329"/>
                  </a:lnTo>
                  <a:lnTo>
                    <a:pt x="4900" y="492"/>
                  </a:lnTo>
                  <a:cubicBezTo>
                    <a:pt x="4954" y="390"/>
                    <a:pt x="5063" y="306"/>
                    <a:pt x="5230" y="306"/>
                  </a:cubicBezTo>
                  <a:cubicBezTo>
                    <a:pt x="5428" y="306"/>
                    <a:pt x="5559" y="425"/>
                    <a:pt x="5559" y="690"/>
                  </a:cubicBezTo>
                  <a:lnTo>
                    <a:pt x="5559" y="1419"/>
                  </a:lnTo>
                  <a:lnTo>
                    <a:pt x="5255" y="1419"/>
                  </a:lnTo>
                  <a:lnTo>
                    <a:pt x="5255" y="736"/>
                  </a:lnTo>
                  <a:cubicBezTo>
                    <a:pt x="5255" y="609"/>
                    <a:pt x="5202" y="552"/>
                    <a:pt x="5092" y="552"/>
                  </a:cubicBezTo>
                  <a:cubicBezTo>
                    <a:pt x="4986" y="552"/>
                    <a:pt x="4900" y="617"/>
                    <a:pt x="4900" y="755"/>
                  </a:cubicBezTo>
                  <a:lnTo>
                    <a:pt x="4900" y="1419"/>
                  </a:lnTo>
                  <a:lnTo>
                    <a:pt x="4596" y="1419"/>
                  </a:lnTo>
                  <a:lnTo>
                    <a:pt x="4596" y="329"/>
                  </a:lnTo>
                  <a:close/>
                  <a:moveTo>
                    <a:pt x="3704" y="748"/>
                  </a:moveTo>
                  <a:lnTo>
                    <a:pt x="4112" y="748"/>
                  </a:lnTo>
                  <a:cubicBezTo>
                    <a:pt x="4106" y="588"/>
                    <a:pt x="4033" y="519"/>
                    <a:pt x="3912" y="519"/>
                  </a:cubicBezTo>
                  <a:cubicBezTo>
                    <a:pt x="3816" y="519"/>
                    <a:pt x="3729" y="571"/>
                    <a:pt x="3704" y="748"/>
                  </a:cubicBezTo>
                  <a:close/>
                  <a:moveTo>
                    <a:pt x="3921" y="1442"/>
                  </a:moveTo>
                  <a:cubicBezTo>
                    <a:pt x="3606" y="1442"/>
                    <a:pt x="3391" y="1255"/>
                    <a:pt x="3391" y="892"/>
                  </a:cubicBezTo>
                  <a:lnTo>
                    <a:pt x="3391" y="871"/>
                  </a:lnTo>
                  <a:cubicBezTo>
                    <a:pt x="3391" y="507"/>
                    <a:pt x="3618" y="306"/>
                    <a:pt x="3910" y="306"/>
                  </a:cubicBezTo>
                  <a:cubicBezTo>
                    <a:pt x="4181" y="306"/>
                    <a:pt x="4408" y="459"/>
                    <a:pt x="4408" y="819"/>
                  </a:cubicBezTo>
                  <a:lnTo>
                    <a:pt x="4408" y="950"/>
                  </a:lnTo>
                  <a:lnTo>
                    <a:pt x="3700" y="950"/>
                  </a:lnTo>
                  <a:cubicBezTo>
                    <a:pt x="3712" y="1146"/>
                    <a:pt x="3795" y="1221"/>
                    <a:pt x="3927" y="1221"/>
                  </a:cubicBezTo>
                  <a:cubicBezTo>
                    <a:pt x="4043" y="1221"/>
                    <a:pt x="4106" y="1159"/>
                    <a:pt x="4127" y="1080"/>
                  </a:cubicBezTo>
                  <a:lnTo>
                    <a:pt x="4408" y="1080"/>
                  </a:lnTo>
                  <a:cubicBezTo>
                    <a:pt x="4375" y="1286"/>
                    <a:pt x="4206" y="1442"/>
                    <a:pt x="3921" y="1442"/>
                  </a:cubicBezTo>
                  <a:close/>
                  <a:moveTo>
                    <a:pt x="2778" y="1442"/>
                  </a:moveTo>
                  <a:cubicBezTo>
                    <a:pt x="2476" y="1442"/>
                    <a:pt x="2257" y="1255"/>
                    <a:pt x="2257" y="886"/>
                  </a:cubicBezTo>
                  <a:lnTo>
                    <a:pt x="2257" y="871"/>
                  </a:lnTo>
                  <a:cubicBezTo>
                    <a:pt x="2257" y="502"/>
                    <a:pt x="2491" y="306"/>
                    <a:pt x="2780" y="306"/>
                  </a:cubicBezTo>
                  <a:cubicBezTo>
                    <a:pt x="3028" y="306"/>
                    <a:pt x="3233" y="432"/>
                    <a:pt x="3258" y="717"/>
                  </a:cubicBezTo>
                  <a:lnTo>
                    <a:pt x="2966" y="717"/>
                  </a:lnTo>
                  <a:cubicBezTo>
                    <a:pt x="2947" y="611"/>
                    <a:pt x="2893" y="542"/>
                    <a:pt x="2787" y="542"/>
                  </a:cubicBezTo>
                  <a:cubicBezTo>
                    <a:pt x="2657" y="542"/>
                    <a:pt x="2568" y="644"/>
                    <a:pt x="2568" y="859"/>
                  </a:cubicBezTo>
                  <a:lnTo>
                    <a:pt x="2568" y="892"/>
                  </a:lnTo>
                  <a:cubicBezTo>
                    <a:pt x="2568" y="1113"/>
                    <a:pt x="2647" y="1213"/>
                    <a:pt x="2789" y="1213"/>
                  </a:cubicBezTo>
                  <a:cubicBezTo>
                    <a:pt x="2893" y="1213"/>
                    <a:pt x="2970" y="1136"/>
                    <a:pt x="2987" y="1017"/>
                  </a:cubicBezTo>
                  <a:lnTo>
                    <a:pt x="3264" y="1017"/>
                  </a:lnTo>
                  <a:cubicBezTo>
                    <a:pt x="3243" y="1265"/>
                    <a:pt x="3074" y="1442"/>
                    <a:pt x="2778" y="1442"/>
                  </a:cubicBezTo>
                  <a:close/>
                  <a:moveTo>
                    <a:pt x="1644" y="1442"/>
                  </a:moveTo>
                  <a:cubicBezTo>
                    <a:pt x="1342" y="1442"/>
                    <a:pt x="1123" y="1255"/>
                    <a:pt x="1123" y="886"/>
                  </a:cubicBezTo>
                  <a:lnTo>
                    <a:pt x="1123" y="871"/>
                  </a:lnTo>
                  <a:cubicBezTo>
                    <a:pt x="1123" y="502"/>
                    <a:pt x="1357" y="306"/>
                    <a:pt x="1646" y="306"/>
                  </a:cubicBezTo>
                  <a:cubicBezTo>
                    <a:pt x="1894" y="306"/>
                    <a:pt x="2099" y="432"/>
                    <a:pt x="2124" y="717"/>
                  </a:cubicBezTo>
                  <a:lnTo>
                    <a:pt x="1832" y="717"/>
                  </a:lnTo>
                  <a:cubicBezTo>
                    <a:pt x="1813" y="611"/>
                    <a:pt x="1759" y="542"/>
                    <a:pt x="1653" y="542"/>
                  </a:cubicBezTo>
                  <a:cubicBezTo>
                    <a:pt x="1523" y="542"/>
                    <a:pt x="1434" y="644"/>
                    <a:pt x="1434" y="859"/>
                  </a:cubicBezTo>
                  <a:lnTo>
                    <a:pt x="1434" y="892"/>
                  </a:lnTo>
                  <a:cubicBezTo>
                    <a:pt x="1434" y="1113"/>
                    <a:pt x="1513" y="1213"/>
                    <a:pt x="1655" y="1213"/>
                  </a:cubicBezTo>
                  <a:cubicBezTo>
                    <a:pt x="1759" y="1213"/>
                    <a:pt x="1836" y="1136"/>
                    <a:pt x="1853" y="1017"/>
                  </a:cubicBezTo>
                  <a:lnTo>
                    <a:pt x="2130" y="1017"/>
                  </a:lnTo>
                  <a:cubicBezTo>
                    <a:pt x="2109" y="1265"/>
                    <a:pt x="1940" y="1442"/>
                    <a:pt x="1644" y="1442"/>
                  </a:cubicBezTo>
                  <a:close/>
                  <a:moveTo>
                    <a:pt x="650" y="1057"/>
                  </a:moveTo>
                  <a:lnTo>
                    <a:pt x="650" y="953"/>
                  </a:lnTo>
                  <a:lnTo>
                    <a:pt x="529" y="953"/>
                  </a:lnTo>
                  <a:cubicBezTo>
                    <a:pt x="379" y="953"/>
                    <a:pt x="302" y="994"/>
                    <a:pt x="302" y="1092"/>
                  </a:cubicBezTo>
                  <a:lnTo>
                    <a:pt x="302" y="1103"/>
                  </a:lnTo>
                  <a:cubicBezTo>
                    <a:pt x="302" y="1178"/>
                    <a:pt x="348" y="1230"/>
                    <a:pt x="450" y="1230"/>
                  </a:cubicBezTo>
                  <a:cubicBezTo>
                    <a:pt x="554" y="1230"/>
                    <a:pt x="650" y="1171"/>
                    <a:pt x="650" y="1057"/>
                  </a:cubicBezTo>
                  <a:close/>
                  <a:moveTo>
                    <a:pt x="358" y="1442"/>
                  </a:moveTo>
                  <a:cubicBezTo>
                    <a:pt x="162" y="1442"/>
                    <a:pt x="0" y="1342"/>
                    <a:pt x="0" y="1121"/>
                  </a:cubicBezTo>
                  <a:lnTo>
                    <a:pt x="0" y="1109"/>
                  </a:lnTo>
                  <a:cubicBezTo>
                    <a:pt x="0" y="840"/>
                    <a:pt x="233" y="752"/>
                    <a:pt x="514" y="752"/>
                  </a:cubicBezTo>
                  <a:lnTo>
                    <a:pt x="650" y="752"/>
                  </a:lnTo>
                  <a:lnTo>
                    <a:pt x="650" y="700"/>
                  </a:lnTo>
                  <a:cubicBezTo>
                    <a:pt x="650" y="592"/>
                    <a:pt x="602" y="525"/>
                    <a:pt x="489" y="525"/>
                  </a:cubicBezTo>
                  <a:cubicBezTo>
                    <a:pt x="387" y="525"/>
                    <a:pt x="333" y="584"/>
                    <a:pt x="325" y="667"/>
                  </a:cubicBezTo>
                  <a:lnTo>
                    <a:pt x="33" y="667"/>
                  </a:lnTo>
                  <a:cubicBezTo>
                    <a:pt x="54" y="425"/>
                    <a:pt x="246" y="306"/>
                    <a:pt x="504" y="306"/>
                  </a:cubicBezTo>
                  <a:cubicBezTo>
                    <a:pt x="767" y="306"/>
                    <a:pt x="954" y="419"/>
                    <a:pt x="954" y="690"/>
                  </a:cubicBezTo>
                  <a:lnTo>
                    <a:pt x="954" y="1419"/>
                  </a:lnTo>
                  <a:lnTo>
                    <a:pt x="656" y="1419"/>
                  </a:lnTo>
                  <a:lnTo>
                    <a:pt x="656" y="1294"/>
                  </a:lnTo>
                  <a:cubicBezTo>
                    <a:pt x="604" y="1374"/>
                    <a:pt x="504" y="1442"/>
                    <a:pt x="358" y="14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5530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Team 8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3"/>
            <a:ext cx="3540355" cy="50166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lace text here, use indent to access other levels 20pt</a:t>
            </a:r>
          </a:p>
          <a:p>
            <a:pPr lvl="1"/>
            <a:r>
              <a:rPr lang="en-US"/>
              <a:t>Second level 20pt</a:t>
            </a:r>
          </a:p>
          <a:p>
            <a:pPr lvl="2"/>
            <a:r>
              <a:rPr lang="en-US"/>
              <a:t>Third level 20pt</a:t>
            </a:r>
          </a:p>
          <a:p>
            <a:pPr lvl="3"/>
            <a:r>
              <a:rPr lang="en-US"/>
              <a:t>Fourth level 18pt</a:t>
            </a:r>
          </a:p>
          <a:p>
            <a:pPr lvl="4"/>
            <a:r>
              <a:rPr lang="en-US"/>
              <a:t>Fifth level 18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144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45" name="Picture Placeholder 13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0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6" name="Picture Placeholder 13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1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7" name="Picture Placeholder 13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4305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2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8" name="Text Placeholder 21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3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4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78" name="Text Placeholder 21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43055" y="2786552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4305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91440" tIns="0" rIns="0" bIns="0" rtlCol="0">
            <a:noAutofit/>
          </a:bodyPr>
          <a:lstStyle>
            <a:lvl1pPr marL="0" indent="0">
              <a:buNone/>
              <a:defRPr lang="en-US" sz="1800" b="0" dirty="0"/>
            </a:lvl1pPr>
          </a:lstStyle>
          <a:p>
            <a:pPr lvl="0"/>
            <a:r>
              <a:rPr lang="en-US"/>
              <a:t>Add profile photo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5822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98233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70644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43" name="Text Placeholder 21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43055" y="5333480"/>
            <a:ext cx="1567945" cy="978418"/>
          </a:xfrm>
        </p:spPr>
        <p:txBody>
          <a:bodyPr/>
          <a:lstStyle>
            <a:lvl1pPr marL="0" indent="0">
              <a:lnSpc>
                <a:spcPct val="80000"/>
              </a:lnSpc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Last name 18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503030202060203" pitchFamily="34" charset="0"/>
              <a:buNone/>
            </a:pPr>
            <a:r>
              <a:rPr lang="en-US"/>
              <a:t>Role 14pt</a:t>
            </a:r>
          </a:p>
        </p:txBody>
      </p:sp>
      <p:sp>
        <p:nvSpPr>
          <p:cNvPr id="50" name="Footer Placeholder 3">
            <a:extLst>
              <a:ext uri="{FF2B5EF4-FFF2-40B4-BE49-F238E27FC236}">
                <a16:creationId xmlns:a16="http://schemas.microsoft.com/office/drawing/2014/main" id="{A671D4FB-2F86-4AF3-89D0-D61D54378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014D8-C563-4003-8EBC-A9F6EE68BA63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1559D4A6-A7D1-4EAE-87E5-EB8A4B73E54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325822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564E037C-8888-4DE6-88C4-A629CBF5F3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298233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1DD1D133-7281-4297-B58B-4683B9743A5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270644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4D49677A-CABE-49CD-A2EE-9EC21E15DF2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0243055" y="2616843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E46B730A-2104-4381-A7F8-6A08201D7F97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325822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15BD8921-64C2-47AC-9DE2-E4DFFCBF7C6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9823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3EF9A07C-1758-4B3E-A1CD-67412E56BBF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270644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25D8A2F3-A845-4271-8B71-45408EF9F6C1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0243053" y="5165507"/>
            <a:ext cx="356616" cy="27432"/>
          </a:xfrm>
          <a:solidFill>
            <a:schemeClr val="accent1"/>
          </a:solidFill>
        </p:spPr>
        <p:txBody>
          <a:bodyPr/>
          <a:lstStyle>
            <a:lvl1pPr>
              <a:buNone/>
              <a:defRPr sz="3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3020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"/>
            <a:ext cx="6096000" cy="68579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, then ‘Send to Back’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3010"/>
            <a:ext cx="191087" cy="201340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267634"/>
            <a:ext cx="5330952" cy="3044265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/>
            </a:lvl2pPr>
            <a:lvl3pPr marL="457200">
              <a:buFont typeface="Arial" panose="020B0503030202060203" pitchFamily="34" charset="0"/>
              <a:buChar char="–"/>
              <a:defRPr sz="1800"/>
            </a:lvl3pPr>
            <a:lvl4pPr marL="685800">
              <a:buFont typeface="Arial" panose="020B0604020202020204" pitchFamily="34" charset="0"/>
              <a:buChar char="•"/>
              <a:defRPr sz="1600"/>
            </a:lvl4pPr>
            <a:lvl5pPr marL="914400">
              <a:buFont typeface="Arial" panose="020B0503030202060203" pitchFamily="34" charset="0"/>
              <a:buChar char="–"/>
              <a:defRPr sz="1600"/>
            </a:lvl5pPr>
          </a:lstStyle>
          <a:p>
            <a:pPr lvl="0"/>
            <a:r>
              <a:rPr lang="en-US"/>
              <a:t>Place sub-headline here in GT Sectra Fine Rg 24pt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9364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Headline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6096024" cy="6309361"/>
          </a:xfrm>
          <a:solidFill>
            <a:schemeClr val="tx1">
              <a:lumMod val="95000"/>
            </a:schemeClr>
          </a:solidFill>
        </p:spPr>
        <p:txBody>
          <a:bodyPr lIns="0" tIns="210312" anchor="t"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09360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999" y="381000"/>
            <a:ext cx="5334000" cy="26670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/>
              <a:t>Place headline here (36pt, min 30pt)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567C369-8A33-4851-8646-E53D6E8D8C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42B8317-AACA-4DC7-AD68-8986DF6299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47" y="3264586"/>
            <a:ext cx="5330952" cy="304731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228600" indent="-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457200">
              <a:buFont typeface="Arial" panose="020B0503030202060203" pitchFamily="34" charset="0"/>
              <a:buChar char="–"/>
              <a:defRPr sz="1800">
                <a:solidFill>
                  <a:schemeClr val="tx1"/>
                </a:solidFill>
              </a:defRPr>
            </a:lvl3pPr>
            <a:lvl4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914400">
              <a:buFont typeface="Arial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 in GT Sectra Fine Rg 24pt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12" name="GTS_WH" descr="Accenture Greater Than symbol in white">
            <a:extLst>
              <a:ext uri="{FF2B5EF4-FFF2-40B4-BE49-F238E27FC236}">
                <a16:creationId xmlns:a16="http://schemas.microsoft.com/office/drawing/2014/main" id="{9742AFA2-2F86-4FC9-AB33-FE5A8DC3B4C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F1D8E5-ED70-409D-A4B1-635A02DFE5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1636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9">
            <a:extLst>
              <a:ext uri="{FF2B5EF4-FFF2-40B4-BE49-F238E27FC236}">
                <a16:creationId xmlns:a16="http://schemas.microsoft.com/office/drawing/2014/main" id="{9128CE8F-D41A-47B9-921B-C6C1790F8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6839" y="943234"/>
            <a:ext cx="4191000" cy="49768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</p:pic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/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06E6C-6576-4BA5-948F-BD9FE24FA0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7365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858001" y="744434"/>
            <a:ext cx="4190998" cy="4976446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tIns="274320" b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 54pt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D868995-C37B-451B-AE1C-89DE71F21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217B10-543D-46E3-A5E7-CA1C578F6F6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1484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FF1C6BE-E6FE-4BD6-8477-A09403EEE56E}"/>
              </a:ext>
            </a:extLst>
          </p:cNvPr>
          <p:cNvSpPr/>
          <p:nvPr userDrawn="1"/>
        </p:nvSpPr>
        <p:spPr bwMode="white">
          <a:xfrm>
            <a:off x="-10" y="-3"/>
            <a:ext cx="6096008" cy="6311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AC315915-FC9E-0942-980E-6C0E99FEA8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986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92" y="0"/>
            <a:ext cx="6096008" cy="6311900"/>
          </a:xfrm>
          <a:solidFill>
            <a:schemeClr val="bg1">
              <a:lumMod val="95000"/>
            </a:schemeClr>
          </a:solidFill>
        </p:spPr>
        <p:txBody>
          <a:bodyPr tIns="45720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49C8D0A-C37D-4D9A-9703-8A0AFB18570C}"/>
              </a:ext>
            </a:extLst>
          </p:cNvPr>
          <p:cNvCxnSpPr>
            <a:cxnSpLocks/>
          </p:cNvCxnSpPr>
          <p:nvPr userDrawn="1"/>
        </p:nvCxnSpPr>
        <p:spPr>
          <a:xfrm>
            <a:off x="0" y="3155950"/>
            <a:ext cx="6096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BE5BBCC-C957-48B6-99B6-EF1F3E80F622}"/>
              </a:ext>
            </a:extLst>
          </p:cNvPr>
          <p:cNvCxnSpPr>
            <a:cxnSpLocks/>
          </p:cNvCxnSpPr>
          <p:nvPr userDrawn="1"/>
        </p:nvCxnSpPr>
        <p:spPr>
          <a:xfrm>
            <a:off x="3047998" y="-2"/>
            <a:ext cx="0" cy="6311902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4EF33C-E010-4503-AC38-BB48E62572E9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15FC8104-48E6-B248-8FB6-974B5ABAE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8992" y="1490071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27C860B3-C7A0-E840-9D83-305F739202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86" y="4646021"/>
            <a:ext cx="2285996" cy="1665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559DD1F-A98C-F14E-95DC-32EC947751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92" y="4646020"/>
            <a:ext cx="2285996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4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3B3ABE64-A2B2-4267-83DE-C2D349057B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pic>
        <p:nvPicPr>
          <p:cNvPr id="19" name="Picture 18" descr="Accenture Greater Than symbol in white">
            <a:extLst>
              <a:ext uri="{FF2B5EF4-FFF2-40B4-BE49-F238E27FC236}">
                <a16:creationId xmlns:a16="http://schemas.microsoft.com/office/drawing/2014/main" id="{E8781F80-F3D9-42F9-B6EE-F6DC303E0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A306F6-3D4B-4153-AFB5-695424B80AC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9726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B918B6-32FF-4857-A645-C1032AFAE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5333969" cy="239395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4056" y="3155948"/>
            <a:ext cx="3047944" cy="31559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8000" y="3155948"/>
            <a:ext cx="3047968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5976" y="-1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8988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28986" y="4647836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3155942"/>
            <a:ext cx="3048000" cy="3155958"/>
          </a:xfrm>
          <a:solidFill>
            <a:schemeClr val="bg1">
              <a:lumMod val="95000"/>
            </a:schemeClr>
          </a:solidFill>
        </p:spPr>
        <p:txBody>
          <a:bodyPr vert="horz" lIns="0" tIns="274320" rIns="0" bIns="0" rtlCol="0" anchor="t">
            <a:noAutofit/>
          </a:bodyPr>
          <a:lstStyle>
            <a:lvl1pPr marL="0" indent="0" algn="ctr">
              <a:buNone/>
              <a:defRPr lang="en-US" sz="1400" dirty="0"/>
            </a:lvl1pPr>
          </a:lstStyle>
          <a:p>
            <a:pPr marL="228600" lvl="0" indent="-228600" algn="ctr"/>
            <a:r>
              <a:rPr lang="en-US"/>
              <a:t>Drag picture to placeholder </a:t>
            </a:r>
          </a:p>
          <a:p>
            <a:pPr marL="228600" lvl="0" indent="-228600" algn="ctr"/>
            <a:r>
              <a:rPr lang="en-US"/>
              <a:t>or click icon to add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/>
              <a:t>00x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Bullet point 16pt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pic>
        <p:nvPicPr>
          <p:cNvPr id="23" name="Picture 22" descr="Accenture Greater Than symbol in white">
            <a:extLst>
              <a:ext uri="{FF2B5EF4-FFF2-40B4-BE49-F238E27FC236}">
                <a16:creationId xmlns:a16="http://schemas.microsoft.com/office/drawing/2014/main" id="{78774BCE-242F-4FF9-9C01-D01B97743A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1070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ccenture Gradient Dark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310B6FD-F7E2-4120-A2CE-22852AAA9F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2FF57A0A-C5DD-42B6-8DD3-E5EA041C72D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31A683-09B8-4B7C-917B-D192D06BB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00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 54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ECBE8-C9DE-46DF-9582-7DB75BEDF4F9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rmat Background… &gt; Solid fill &gt; Change to Dark Purple (Accent 3), Mid Purple (Accent 2) or Core Purple (Accent 1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D9D8DCD-E7C3-4F1A-8A48-31319650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B0B0C095-6C73-4899-AD8E-8F75768CF51A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FE70C-67B2-45BA-88F7-45C14692FC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620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D31DD4-2506-4E03-897C-F4C8C020F0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7620" y="-9144"/>
            <a:ext cx="12207240" cy="6876288"/>
          </a:xfrm>
        </p:spPr>
        <p:txBody>
          <a:bodyPr lIns="0" tIns="182880"/>
          <a:lstStyle>
            <a:lvl1pPr algn="ctr">
              <a:buNone/>
              <a:defRPr/>
            </a:lvl1pPr>
          </a:lstStyle>
          <a:p>
            <a:r>
              <a:rPr lang="en-US"/>
              <a:t>Drag picture to placeholder or click icon to add, then send to bac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headline here 54pt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A2CFACC-0767-48E1-9FD9-763E5025E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7" name="GTS_WH" descr="Accenture Greater Than symbol in white">
            <a:extLst>
              <a:ext uri="{FF2B5EF4-FFF2-40B4-BE49-F238E27FC236}">
                <a16:creationId xmlns:a16="http://schemas.microsoft.com/office/drawing/2014/main" id="{AE479463-B4C9-4B9A-BE8B-62B5B9CF0075}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BAA91-4288-4230-8881-E1D51DEBF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77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slideLayout" Target="../slideLayouts/slideLayout3.xml"/><Relationship Id="rId3" Type="http://schemas.openxmlformats.org/officeDocument/2006/relationships/slideLayout" Target="../slideLayouts/slideLayout4.xml"/><Relationship Id="rId4" Type="http://schemas.openxmlformats.org/officeDocument/2006/relationships/slideLayout" Target="../slideLayouts/slideLayout5.xml"/><Relationship Id="rId5" Type="http://schemas.openxmlformats.org/officeDocument/2006/relationships/slideLayout" Target="../slideLayouts/slideLayout6.xml"/><Relationship Id="rId6" Type="http://schemas.openxmlformats.org/officeDocument/2006/relationships/slideLayout" Target="../slideLayouts/slideLayout7.xml"/><Relationship Id="rId7" Type="http://schemas.openxmlformats.org/officeDocument/2006/relationships/slideLayout" Target="../slideLayouts/slideLayout8.xml"/><Relationship Id="rId8" Type="http://schemas.openxmlformats.org/officeDocument/2006/relationships/slideLayout" Target="../slideLayouts/slideLayout9.xml"/><Relationship Id="rId9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30.xml"/><Relationship Id="rId30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32.xml"/><Relationship Id="rId32" Type="http://schemas.openxmlformats.org/officeDocument/2006/relationships/slideLayout" Target="../slideLayouts/slideLayout33.xml"/><Relationship Id="rId33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36.xml"/><Relationship Id="rId36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39.xml"/><Relationship Id="rId39" Type="http://schemas.openxmlformats.org/officeDocument/2006/relationships/slideLayout" Target="../slideLayouts/slideLayout40.xml"/><Relationship Id="rId40" Type="http://schemas.openxmlformats.org/officeDocument/2006/relationships/slideLayout" Target="../slideLayouts/slideLayout41.xml"/><Relationship Id="rId41" Type="http://schemas.openxmlformats.org/officeDocument/2006/relationships/slideLayout" Target="../slideLayouts/slideLayout42.xml"/><Relationship Id="rId42" Type="http://schemas.openxmlformats.org/officeDocument/2006/relationships/slideLayout" Target="../slideLayouts/slideLayout43.xml"/><Relationship Id="rId43" Type="http://schemas.openxmlformats.org/officeDocument/2006/relationships/slideLayout" Target="../slideLayouts/slideLayout44.xml"/><Relationship Id="rId44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46.xml"/><Relationship Id="rId46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49.xml"/><Relationship Id="rId49" Type="http://schemas.openxmlformats.org/officeDocument/2006/relationships/slideLayout" Target="../slideLayouts/slideLayout50.xml"/><Relationship Id="rId50" Type="http://schemas.openxmlformats.org/officeDocument/2006/relationships/slideLayout" Target="../slideLayouts/slideLayout51.xml"/><Relationship Id="rId51" Type="http://schemas.openxmlformats.org/officeDocument/2006/relationships/theme" Target="../theme/theme2.xml"/></Relationships>
</file>

<file path=ppt/slideMasters/_rels/slideMaster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3.xml"/><Relationship Id="rId3" Type="http://schemas.openxmlformats.org/officeDocument/2006/relationships/slideLayout" Target="../slideLayouts/slideLayout54.xml"/><Relationship Id="rId4" Type="http://schemas.openxmlformats.org/officeDocument/2006/relationships/theme" Target="../theme/theme3.xml"/><Relationship Id="rId5" Type="http://schemas.openxmlformats.org/officeDocument/2006/relationships/tags" Target="../tags/tag3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3.emf"/></Relationships>
</file>

<file path=ppt/slideMasters/_rels/slideMaster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1.xml"/><Relationship Id="rId8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89.xml"/><Relationship Id="rId36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4.xml"/><Relationship Id="rId41" Type="http://schemas.openxmlformats.org/officeDocument/2006/relationships/slideLayout" Target="../slideLayouts/slideLayout95.xml"/><Relationship Id="rId42" Type="http://schemas.openxmlformats.org/officeDocument/2006/relationships/slideLayout" Target="../slideLayouts/slideLayout96.xml"/><Relationship Id="rId43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99.xml"/><Relationship Id="rId46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2.xml"/><Relationship Id="rId49" Type="http://schemas.openxmlformats.org/officeDocument/2006/relationships/slideLayout" Target="../slideLayouts/slideLayout103.xml"/><Relationship Id="rId50" Type="http://schemas.openxmlformats.org/officeDocument/2006/relationships/slideLayout" Target="../slideLayouts/slideLayout104.xml"/><Relationship Id="rId5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1 Accenture. All rights reserved.</a:t>
            </a: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6506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81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820" r:id="rId13"/>
    <p:sldLayoutId id="2147483778" r:id="rId14"/>
    <p:sldLayoutId id="2147483779" r:id="rId15"/>
    <p:sldLayoutId id="2147483780" r:id="rId16"/>
    <p:sldLayoutId id="2147483781" r:id="rId17"/>
    <p:sldLayoutId id="2147483821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94" r:id="rId30"/>
    <p:sldLayoutId id="2147483795" r:id="rId31"/>
    <p:sldLayoutId id="2147483796" r:id="rId32"/>
    <p:sldLayoutId id="2147483797" r:id="rId33"/>
    <p:sldLayoutId id="2147483798" r:id="rId34"/>
    <p:sldLayoutId id="2147483799" r:id="rId35"/>
    <p:sldLayoutId id="2147483800" r:id="rId36"/>
    <p:sldLayoutId id="2147483801" r:id="rId37"/>
    <p:sldLayoutId id="2147483802" r:id="rId38"/>
    <p:sldLayoutId id="2147483803" r:id="rId39"/>
    <p:sldLayoutId id="2147483804" r:id="rId40"/>
    <p:sldLayoutId id="2147483805" r:id="rId41"/>
    <p:sldLayoutId id="2147483806" r:id="rId42"/>
    <p:sldLayoutId id="2147483807" r:id="rId43"/>
    <p:sldLayoutId id="2147483808" r:id="rId44"/>
    <p:sldLayoutId id="2147483809" r:id="rId45"/>
    <p:sldLayoutId id="2147483810" r:id="rId46"/>
    <p:sldLayoutId id="2147483811" r:id="rId47"/>
    <p:sldLayoutId id="2147483812" r:id="rId48"/>
    <p:sldLayoutId id="2147483817" r:id="rId49"/>
    <p:sldLayoutId id="2147483816" r:id="rId50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6F4C2C0-9C44-433C-BA89-DCAC6469C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2267474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6F4C2C0-9C44-433C-BA89-DCAC6469C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770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2890">
          <p15:clr>
            <a:srgbClr val="F26B43"/>
          </p15:clr>
        </p15:guide>
        <p15:guide id="4" orient="horz" pos="3117">
          <p15:clr>
            <a:srgbClr val="F26B43"/>
          </p15:clr>
        </p15:guide>
        <p15:guide id="5" orient="horz" pos="191">
          <p15:clr>
            <a:srgbClr val="F26B43"/>
          </p15:clr>
        </p15:guide>
        <p15:guide id="6" pos="181">
          <p15:clr>
            <a:srgbClr val="F26B43"/>
          </p15:clr>
        </p15:guide>
        <p15:guide id="7" pos="5579">
          <p15:clr>
            <a:srgbClr val="F26B43"/>
          </p15:clr>
        </p15:guide>
        <p15:guide id="8" pos="3039">
          <p15:clr>
            <a:srgbClr val="F26B43"/>
          </p15:clr>
        </p15:guide>
        <p15:guide id="9" pos="272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1 Accenture. All rights reserved.</a:t>
            </a: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3807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  <p:sldLayoutId id="2147483856" r:id="rId26"/>
    <p:sldLayoutId id="2147483857" r:id="rId27"/>
    <p:sldLayoutId id="2147483858" r:id="rId28"/>
    <p:sldLayoutId id="2147483859" r:id="rId29"/>
    <p:sldLayoutId id="2147483860" r:id="rId30"/>
    <p:sldLayoutId id="2147483861" r:id="rId31"/>
    <p:sldLayoutId id="2147483862" r:id="rId32"/>
    <p:sldLayoutId id="2147483863" r:id="rId33"/>
    <p:sldLayoutId id="2147483864" r:id="rId34"/>
    <p:sldLayoutId id="2147483865" r:id="rId35"/>
    <p:sldLayoutId id="2147483866" r:id="rId36"/>
    <p:sldLayoutId id="2147483867" r:id="rId37"/>
    <p:sldLayoutId id="2147483868" r:id="rId38"/>
    <p:sldLayoutId id="2147483869" r:id="rId39"/>
    <p:sldLayoutId id="2147483870" r:id="rId40"/>
    <p:sldLayoutId id="2147483871" r:id="rId41"/>
    <p:sldLayoutId id="2147483872" r:id="rId42"/>
    <p:sldLayoutId id="2147483873" r:id="rId43"/>
    <p:sldLayoutId id="2147483874" r:id="rId44"/>
    <p:sldLayoutId id="2147483875" r:id="rId45"/>
    <p:sldLayoutId id="2147483876" r:id="rId46"/>
    <p:sldLayoutId id="2147483877" r:id="rId47"/>
    <p:sldLayoutId id="2147483878" r:id="rId48"/>
    <p:sldLayoutId id="2147483879" r:id="rId49"/>
    <p:sldLayoutId id="2147483880" r:id="rId50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8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1" descr="A picture containing person, scarf, hat&#10;&#10;Description automatically generated">
            <a:extLst>
              <a:ext uri="{FF2B5EF4-FFF2-40B4-BE49-F238E27FC236}">
                <a16:creationId xmlns:a16="http://schemas.microsoft.com/office/drawing/2014/main" id="{5BA21D58-FC0E-4419-9302-C1BE8AFC0B0D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1400" t="665" r="1015" b="665"/>
          <a:stretch/>
        </p:blipFill>
        <p:spPr>
          <a:xfrm>
            <a:off x="0" y="-2769"/>
            <a:ext cx="2642400" cy="2642400"/>
          </a:xfrm>
          <a:prstGeom prst="rect">
            <a:avLst/>
          </a:prstGeom>
          <a:ln>
            <a:noFill/>
          </a:ln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B8BB9D-0FB6-62BF-E1B5-48D59B98FF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4816" y="3137102"/>
            <a:ext cx="2197701" cy="1250950"/>
          </a:xfrm>
        </p:spPr>
        <p:txBody>
          <a:bodyPr vert="horz" lIns="54000" tIns="36000" rIns="36000" bIns="36000" rtlCol="0" anchor="t">
            <a:noAutofit/>
          </a:bodyPr>
          <a:lstStyle/>
          <a:p>
            <a:r>
              <a:rPr lang="en-US"/>
              <a:t>Anna is a  Senior Data Scientist with an Earth Sciences and a Mechanical Engineering and Machine Design </a:t>
            </a:r>
            <a:br>
              <a:rPr lang="en-US"/>
            </a:br>
            <a:r>
              <a:rPr lang="en-US"/>
              <a:t>background. She has very good knowledge of numerical methods, signal processing, statistics, mathematical modeling, data analysis and visualization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2B5AAB-36CC-B248-45FC-EE79F37579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54000" tIns="36000" rIns="36000" bIns="36000" numCol="2" rtlCol="0" anchor="t">
            <a:noAutofit/>
          </a:bodyPr>
          <a:lstStyle/>
          <a:p>
            <a:r>
              <a:rPr lang="en-US"/>
              <a:t>Media</a:t>
            </a:r>
          </a:p>
          <a:p>
            <a:r>
              <a:rPr lang="en-US"/>
              <a:t>Market Research</a:t>
            </a:r>
          </a:p>
          <a:p>
            <a:r>
              <a:rPr lang="en-US"/>
              <a:t>Retail</a:t>
            </a:r>
          </a:p>
          <a:p>
            <a:r>
              <a:rPr lang="en-US"/>
              <a:t>Geophysics</a:t>
            </a: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6BA3DB-B572-7A7D-1449-1BB8574AE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sz="3500"/>
              <a:t>Anna Adamczyk, Ph.D.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700296-51A8-1440-440E-D7AA7D6C41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latin typeface="GT Sectra Fine Rg"/>
                <a:ea typeface="Roboto Medium"/>
              </a:rPr>
              <a:t>Consultant, Data Scienc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B75E3F-E931-615A-68A2-7BB81C48CFA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208" y="1907471"/>
            <a:ext cx="2664000" cy="1106487"/>
          </a:xfrm>
        </p:spPr>
        <p:txBody>
          <a:bodyPr vert="horz" lIns="54000" tIns="36000" rIns="36000" bIns="36000" rtlCol="0" anchor="t">
            <a:noAutofit/>
          </a:bodyPr>
          <a:lstStyle/>
          <a:p>
            <a:r>
              <a:rPr lang="en-US"/>
              <a:t>Ph.D. in Earth Sciences, Institute of Geophysics, Polish Academy of Sciences </a:t>
            </a:r>
          </a:p>
          <a:p>
            <a:r>
              <a:rPr lang="en-US"/>
              <a:t>M.Sc. in Mechanical Engineering and Machine Design, Warsaw University of Technology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0BA70A-2BDE-FA95-B241-FA70FDE67E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vert="horz" lIns="54000" tIns="36000" rIns="36000" bIns="36000" rtlCol="0" anchor="t">
            <a:noAutofit/>
          </a:bodyPr>
          <a:lstStyle/>
          <a:p>
            <a:pPr algn="just">
              <a:spcBef>
                <a:spcPts val="400"/>
              </a:spcBef>
            </a:pPr>
            <a:r>
              <a:rPr lang="en-US"/>
              <a:t>Python (</a:t>
            </a:r>
            <a:r>
              <a:rPr lang="en-US" err="1"/>
              <a:t>numpy</a:t>
            </a:r>
            <a:r>
              <a:rPr lang="en-US"/>
              <a:t>, pandas, scikit-learn, </a:t>
            </a:r>
            <a:r>
              <a:rPr lang="en-US" err="1"/>
              <a:t>tensorflow</a:t>
            </a:r>
            <a:r>
              <a:rPr lang="en-US"/>
              <a:t>)</a:t>
            </a:r>
          </a:p>
          <a:p>
            <a:pPr algn="just">
              <a:spcBef>
                <a:spcPts val="400"/>
              </a:spcBef>
            </a:pPr>
            <a:r>
              <a:rPr lang="en-US"/>
              <a:t>SQL</a:t>
            </a:r>
          </a:p>
          <a:p>
            <a:pPr algn="just">
              <a:spcBef>
                <a:spcPts val="400"/>
              </a:spcBef>
            </a:pPr>
            <a:r>
              <a:rPr lang="en-US"/>
              <a:t>R</a:t>
            </a:r>
          </a:p>
          <a:p>
            <a:pPr algn="just">
              <a:spcBef>
                <a:spcPts val="400"/>
              </a:spcBef>
            </a:pPr>
            <a:r>
              <a:rPr lang="en-US"/>
              <a:t>C/C++</a:t>
            </a:r>
          </a:p>
          <a:p>
            <a:pPr algn="just">
              <a:spcBef>
                <a:spcPts val="400"/>
              </a:spcBef>
            </a:pPr>
            <a:r>
              <a:rPr lang="en-US"/>
              <a:t>Git</a:t>
            </a:r>
          </a:p>
          <a:p>
            <a:pPr algn="just">
              <a:spcBef>
                <a:spcPts val="400"/>
              </a:spcBef>
            </a:pPr>
            <a:r>
              <a:rPr lang="en-US" err="1"/>
              <a:t>PySpark</a:t>
            </a:r>
            <a:endParaRPr lang="en-US"/>
          </a:p>
          <a:p>
            <a:pPr algn="just">
              <a:spcBef>
                <a:spcPts val="400"/>
              </a:spcBef>
            </a:pPr>
            <a:r>
              <a:rPr lang="en-US"/>
              <a:t>Azure, Databricks</a:t>
            </a:r>
          </a:p>
          <a:p>
            <a:pPr algn="just">
              <a:spcBef>
                <a:spcPts val="400"/>
              </a:spcBef>
            </a:pPr>
            <a:r>
              <a:rPr lang="en-US"/>
              <a:t>Adobe Analytic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F7477FF-EA27-C0C1-3AD2-776530A429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 vert="horz" lIns="54000" tIns="36000" rIns="36000" bIns="36000" rtlCol="0" anchor="t">
            <a:noAutofit/>
          </a:bodyPr>
          <a:lstStyle/>
          <a:p>
            <a:r>
              <a:rPr lang="en-US"/>
              <a:t>Polish   English   Spanish   Germa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38107F-65D0-6F34-3C3B-5A87C3C2647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32107" y="1861782"/>
            <a:ext cx="6282000" cy="3971540"/>
          </a:xfrm>
        </p:spPr>
        <p:txBody>
          <a:bodyPr vert="horz" lIns="54000" tIns="36000" rIns="36000" bIns="36000" numCol="2" spcCol="252000" rtlCol="0" anchor="t">
            <a:noAutofit/>
          </a:bodyPr>
          <a:lstStyle/>
          <a:p>
            <a:pPr algn="just"/>
            <a:r>
              <a:rPr lang="en-US" b="1"/>
              <a:t>International Retailer – Data Scientist</a:t>
            </a:r>
            <a:endParaRPr lang="en-US"/>
          </a:p>
          <a:p>
            <a:pPr algn="just"/>
            <a:r>
              <a:rPr lang="en-US"/>
              <a:t>Exploratory comparison of web traffic data with sales; mapping the customer journey; coordinating the international customer segmentation project </a:t>
            </a:r>
          </a:p>
          <a:p>
            <a:pPr algn="just"/>
            <a:r>
              <a:rPr lang="en-US" b="1"/>
              <a:t>Global Market Research Company – Lead Data Scientist</a:t>
            </a:r>
          </a:p>
          <a:p>
            <a:pPr algn="just"/>
            <a:r>
              <a:rPr lang="en-US"/>
              <a:t>Working with Machine Learning algorithms in sales forecasting, fast search for similar objects, and data-engineering projects (Python, </a:t>
            </a:r>
            <a:r>
              <a:rPr lang="en-US" err="1"/>
              <a:t>PySpark</a:t>
            </a:r>
            <a:r>
              <a:rPr lang="en-US"/>
              <a:t>, SQL); documentation and automation of prototype solutions into business-ready processes; stakeholders and project management</a:t>
            </a:r>
          </a:p>
          <a:p>
            <a:pPr algn="just"/>
            <a:r>
              <a:rPr lang="en-US" b="1">
                <a:ea typeface="+mn-lt"/>
                <a:cs typeface="+mn-lt"/>
              </a:rPr>
              <a:t>Global Market Research Company</a:t>
            </a:r>
            <a:r>
              <a:rPr lang="en-US" b="1"/>
              <a:t> – Senior Data Scientist</a:t>
            </a:r>
          </a:p>
          <a:p>
            <a:pPr algn="just"/>
            <a:r>
              <a:rPr lang="en-US"/>
              <a:t>Analytical projects development; developing and maintaining code in R; using data stored on Hadoop or PostgreSQL; reverse engineering  proprietary vintage database formats; wrapping C/C++ functions in Python packages</a:t>
            </a:r>
          </a:p>
          <a:p>
            <a:pPr algn="just"/>
            <a:r>
              <a:rPr lang="en-US" b="1"/>
              <a:t>Institute of Geophysics – Researcher</a:t>
            </a:r>
          </a:p>
          <a:p>
            <a:pPr algn="just"/>
            <a:r>
              <a:rPr lang="en-US"/>
              <a:t>PhD thesis research (Application of full-waveform inversion to land datasets); studying image processing, especially in the context of image denoising; planning and performing fieldwork while acquiring seismic data</a:t>
            </a:r>
          </a:p>
          <a:p>
            <a:pPr algn="just"/>
            <a:r>
              <a:rPr lang="en-US" b="1"/>
              <a:t>Image Processing Start-Up – Analyst</a:t>
            </a:r>
          </a:p>
          <a:p>
            <a:pPr algn="just"/>
            <a:r>
              <a:rPr lang="en-US"/>
              <a:t>Objects shape recognition using </a:t>
            </a:r>
            <a:r>
              <a:rPr lang="en-US" err="1"/>
              <a:t>Matlab</a:t>
            </a:r>
            <a:r>
              <a:rPr lang="en-US"/>
              <a:t>, Java and C; performing wavelet decomposition to examine the statistical parameters of the images in each scale.</a:t>
            </a:r>
          </a:p>
          <a:p>
            <a:pPr algn="just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439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1" descr="A picture containing person, scarf, hat&#10;&#10;Description automatically generated">
            <a:extLst>
              <a:ext uri="{FF2B5EF4-FFF2-40B4-BE49-F238E27FC236}">
                <a16:creationId xmlns:a16="http://schemas.microsoft.com/office/drawing/2014/main" id="{5BA21D58-FC0E-4419-9302-C1BE8AFC0B0D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1400" t="665" r="1015" b="665"/>
          <a:stretch/>
        </p:blipFill>
        <p:spPr>
          <a:xfrm>
            <a:off x="0" y="-2769"/>
            <a:ext cx="2642400" cy="2642400"/>
          </a:xfrm>
          <a:prstGeom prst="rect">
            <a:avLst/>
          </a:prstGeom>
          <a:ln>
            <a:noFill/>
          </a:ln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B8BB9D-0FB6-62BF-E1B5-48D59B98FF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4816" y="3137102"/>
            <a:ext cx="2197701" cy="1250950"/>
          </a:xfrm>
        </p:spPr>
        <p:txBody>
          <a:bodyPr vert="horz" lIns="54000" tIns="36000" rIns="36000" bIns="36000" rtlCol="0" anchor="t">
            <a:noAutofit/>
          </a:bodyPr>
          <a:lstStyle/>
          <a:p>
            <a:r>
              <a:rPr lang="en-US"/>
              <a:t>Anna is a  Senior Data Scientist with an Earth Sciences and a Mechanical Engineering and Machine Design </a:t>
            </a:r>
            <a:br>
              <a:rPr lang="en-US"/>
            </a:br>
            <a:r>
              <a:rPr lang="en-US"/>
              <a:t>background. She has very good knowledge of numerical methods, signal processing, statistics, mathematical modeling, data analysis and visualization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2B5AAB-36CC-B248-45FC-EE79F37579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54000" tIns="36000" rIns="36000" bIns="36000" numCol="2" rtlCol="0" anchor="t">
            <a:noAutofit/>
          </a:bodyPr>
          <a:lstStyle/>
          <a:p>
            <a:r>
              <a:rPr lang="en-US"/>
              <a:t>Media</a:t>
            </a:r>
          </a:p>
          <a:p>
            <a:r>
              <a:rPr lang="en-US"/>
              <a:t>Market Research</a:t>
            </a:r>
          </a:p>
          <a:p>
            <a:r>
              <a:rPr lang="en-US"/>
              <a:t>Retail</a:t>
            </a:r>
          </a:p>
          <a:p>
            <a:r>
              <a:rPr lang="en-US"/>
              <a:t>Geophysics</a:t>
            </a: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6BA3DB-B572-7A7D-1449-1BB8574AED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sz="3500"/>
              <a:t>Anna Adamczyk, Ph.D.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700296-51A8-1440-440E-D7AA7D6C41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latin typeface="GT Sectra Fine Rg"/>
                <a:ea typeface="Roboto Medium"/>
              </a:rPr>
              <a:t>Consultant, Data Science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B75E3F-E931-615A-68A2-7BB81C48CFA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415208" y="1907471"/>
            <a:ext cx="2664000" cy="1106487"/>
          </a:xfrm>
        </p:spPr>
        <p:txBody>
          <a:bodyPr vert="horz" lIns="54000" tIns="36000" rIns="36000" bIns="36000" rtlCol="0" anchor="t">
            <a:noAutofit/>
          </a:bodyPr>
          <a:lstStyle/>
          <a:p>
            <a:r>
              <a:rPr lang="en-US"/>
              <a:t>Ph.D. in Earth Sciences, Institute of Geophysics, Polish Academy of Sciences </a:t>
            </a:r>
          </a:p>
          <a:p>
            <a:r>
              <a:rPr lang="en-US"/>
              <a:t>M.Sc. in Mechanical Engineering and Machine Design, Warsaw University of Technology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0BA70A-2BDE-FA95-B241-FA70FDE67E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vert="horz" lIns="54000" tIns="36000" rIns="36000" bIns="36000" rtlCol="0" anchor="t">
            <a:noAutofit/>
          </a:bodyPr>
          <a:lstStyle/>
          <a:p>
            <a:pPr algn="just">
              <a:spcBef>
                <a:spcPts val="400"/>
              </a:spcBef>
            </a:pPr>
            <a:r>
              <a:rPr lang="en-US"/>
              <a:t>Python (</a:t>
            </a:r>
            <a:r>
              <a:rPr lang="en-US" err="1"/>
              <a:t>numpy</a:t>
            </a:r>
            <a:r>
              <a:rPr lang="en-US"/>
              <a:t>, pandas, scikit-learn, </a:t>
            </a:r>
            <a:r>
              <a:rPr lang="en-US" err="1"/>
              <a:t>tensorflow</a:t>
            </a:r>
            <a:r>
              <a:rPr lang="en-US"/>
              <a:t>)</a:t>
            </a:r>
          </a:p>
          <a:p>
            <a:pPr algn="just">
              <a:spcBef>
                <a:spcPts val="400"/>
              </a:spcBef>
            </a:pPr>
            <a:r>
              <a:rPr lang="en-US"/>
              <a:t>SQL</a:t>
            </a:r>
          </a:p>
          <a:p>
            <a:pPr algn="just">
              <a:spcBef>
                <a:spcPts val="400"/>
              </a:spcBef>
            </a:pPr>
            <a:r>
              <a:rPr lang="en-US"/>
              <a:t>R</a:t>
            </a:r>
          </a:p>
          <a:p>
            <a:pPr algn="just">
              <a:spcBef>
                <a:spcPts val="400"/>
              </a:spcBef>
            </a:pPr>
            <a:r>
              <a:rPr lang="en-US"/>
              <a:t>C/C++</a:t>
            </a:r>
          </a:p>
          <a:p>
            <a:pPr algn="just">
              <a:spcBef>
                <a:spcPts val="400"/>
              </a:spcBef>
            </a:pPr>
            <a:r>
              <a:rPr lang="en-US"/>
              <a:t>Git</a:t>
            </a:r>
          </a:p>
          <a:p>
            <a:pPr algn="just">
              <a:spcBef>
                <a:spcPts val="400"/>
              </a:spcBef>
            </a:pPr>
            <a:r>
              <a:rPr lang="en-US" err="1"/>
              <a:t>PySpark</a:t>
            </a:r>
            <a:endParaRPr lang="en-US"/>
          </a:p>
          <a:p>
            <a:pPr algn="just">
              <a:spcBef>
                <a:spcPts val="400"/>
              </a:spcBef>
            </a:pPr>
            <a:r>
              <a:rPr lang="en-US"/>
              <a:t>Azure, Databricks</a:t>
            </a:r>
          </a:p>
          <a:p>
            <a:pPr algn="just">
              <a:spcBef>
                <a:spcPts val="400"/>
              </a:spcBef>
            </a:pPr>
            <a:r>
              <a:rPr lang="en-US"/>
              <a:t>Adobe Analytic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F7477FF-EA27-C0C1-3AD2-776530A429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 vert="horz" lIns="54000" tIns="36000" rIns="36000" bIns="36000" rtlCol="0" anchor="t">
            <a:noAutofit/>
          </a:bodyPr>
          <a:lstStyle/>
          <a:p>
            <a:r>
              <a:rPr lang="en-US"/>
              <a:t>Polish   English   Spanish   Germa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38107F-65D0-6F34-3C3B-5A87C3C2647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32107" y="1861782"/>
            <a:ext cx="6282000" cy="3971540"/>
          </a:xfrm>
        </p:spPr>
        <p:txBody>
          <a:bodyPr vert="horz" lIns="54000" tIns="36000" rIns="36000" bIns="36000" numCol="2" spcCol="252000" rtlCol="0" anchor="t">
            <a:noAutofit/>
          </a:bodyPr>
          <a:lstStyle/>
          <a:p>
            <a:pPr algn="just"/>
            <a:r>
              <a:rPr lang="en-US" b="1"/>
              <a:t>International Retailer – Data Scientist</a:t>
            </a:r>
            <a:endParaRPr lang="en-US"/>
          </a:p>
          <a:p>
            <a:pPr algn="just"/>
            <a:r>
              <a:rPr lang="en-US"/>
              <a:t>Exploratory comparison of web traffic data with sales; mapping the customer journey; coordinating the international customer segmentation project </a:t>
            </a:r>
          </a:p>
          <a:p>
            <a:pPr algn="just"/>
            <a:r>
              <a:rPr lang="en-US" b="1"/>
              <a:t>Global Market Research Company – Lead Data Scientist</a:t>
            </a:r>
          </a:p>
          <a:p>
            <a:pPr algn="just"/>
            <a:r>
              <a:rPr lang="en-US"/>
              <a:t>Working with Machine Learning algorithms in sales forecasting, fast search for similar objects, and data-engineering projects (Python, </a:t>
            </a:r>
            <a:r>
              <a:rPr lang="en-US" err="1"/>
              <a:t>PySpark</a:t>
            </a:r>
            <a:r>
              <a:rPr lang="en-US"/>
              <a:t>, SQL); documentation and automation of prototype solutions into business-ready processes; stakeholders and project management</a:t>
            </a:r>
          </a:p>
          <a:p>
            <a:pPr algn="just"/>
            <a:r>
              <a:rPr lang="en-US" b="1">
                <a:ea typeface="+mn-lt"/>
                <a:cs typeface="+mn-lt"/>
              </a:rPr>
              <a:t>Global Market Research Company</a:t>
            </a:r>
            <a:r>
              <a:rPr lang="en-US" b="1"/>
              <a:t> – Senior Data Scientist</a:t>
            </a:r>
          </a:p>
          <a:p>
            <a:pPr algn="just"/>
            <a:r>
              <a:rPr lang="en-US"/>
              <a:t>Analytical projects development; developing and maintaining code in R; using data stored on Hadoop or PostgreSQL; reverse engineering  proprietary vintage database formats; wrapping C/C++ functions in Python packages</a:t>
            </a:r>
          </a:p>
          <a:p>
            <a:pPr algn="just"/>
            <a:r>
              <a:rPr lang="en-US" b="1"/>
              <a:t>Institute of Geophysics – Researcher</a:t>
            </a:r>
          </a:p>
          <a:p>
            <a:pPr algn="just"/>
            <a:r>
              <a:rPr lang="en-US"/>
              <a:t>PhD thesis research (Application of full-waveform inversion to land datasets); studying image processing, especially in the context of image denoising; planning and performing fieldwork while acquiring seismic data</a:t>
            </a:r>
          </a:p>
          <a:p>
            <a:pPr algn="just"/>
            <a:r>
              <a:rPr lang="en-US" b="1"/>
              <a:t>Image Processing Start-Up – Analyst</a:t>
            </a:r>
          </a:p>
          <a:p>
            <a:pPr algn="just"/>
            <a:r>
              <a:rPr lang="en-US"/>
              <a:t>Objects shape recognition using </a:t>
            </a:r>
            <a:r>
              <a:rPr lang="en-US" err="1"/>
              <a:t>Matlab</a:t>
            </a:r>
            <a:r>
              <a:rPr lang="en-US"/>
              <a:t>, Java and C; performing wavelet decomposition to examine the statistical parameters of the images in each scale.</a:t>
            </a:r>
          </a:p>
          <a:p>
            <a:pPr algn="just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523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Starter_Pack_Graphik_210303_Fixed_Accessibility.potx" id="{5533E145-E600-4444-BC3D-5102D2EEDB31}" vid="{383380C5-E3D1-4977-8974-3F092EA624F2}"/>
    </a:ext>
  </a:extLst>
</a:theme>
</file>

<file path=ppt/theme/theme2.xml><?xml version="1.0" encoding="utf-8"?>
<a:theme xmlns:a="http://schemas.openxmlformats.org/drawingml/2006/main" name="1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Starter_Pack_Graphik_210303_Fixed_Accessibility.potx" id="{5533E145-E600-4444-BC3D-5102D2EEDB31}" vid="{383380C5-E3D1-4977-8974-3F092EA624F2}"/>
    </a:ext>
  </a:extLst>
</a:theme>
</file>

<file path=ppt/theme/theme3.xml><?xml version="1.0" encoding="utf-8"?>
<a:theme xmlns:a="http://schemas.openxmlformats.org/drawingml/2006/main" name="Benutzerdefiniertes Design">
  <a:themeElements>
    <a:clrScheme name="">
      <a:dk1>
        <a:srgbClr val="000000"/>
      </a:dk1>
      <a:lt1>
        <a:srgbClr val="FFFFFF"/>
      </a:lt1>
      <a:dk2>
        <a:srgbClr val="323232"/>
      </a:dk2>
      <a:lt2>
        <a:srgbClr val="E7E6E6"/>
      </a:lt2>
      <a:accent1>
        <a:srgbClr val="450073"/>
      </a:accent1>
      <a:accent2>
        <a:srgbClr val="7400A4"/>
      </a:accent2>
      <a:accent3>
        <a:srgbClr val="A000FF"/>
      </a:accent3>
      <a:accent4>
        <a:srgbClr val="7400C0"/>
      </a:accent4>
      <a:accent5>
        <a:srgbClr val="A000FF"/>
      </a:accent5>
      <a:accent6>
        <a:srgbClr val="0074FA"/>
      </a:accent6>
      <a:hlink>
        <a:srgbClr val="0563C1"/>
      </a:hlink>
      <a:folHlink>
        <a:srgbClr val="954F72"/>
      </a:folHlink>
    </a:clrScheme>
    <a:fontScheme name="Custom 1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Starter_Pack_Graphik_210303_Fixed_Accessibility.potx" id="{5533E145-E600-4444-BC3D-5102D2EEDB31}" vid="{383380C5-E3D1-4977-8974-3F092EA624F2}"/>
    </a:ext>
  </a:extLst>
</a:theme>
</file>

<file path=ppt/theme/theme5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1a1fae5-4b46-4394-ba0d-5c5f66b50d06" xsi:nil="true"/>
    <lcf76f155ced4ddcb4097134ff3c332f xmlns="3d7e76d8-396c-4ad3-93a2-a678e2993f2b">
      <Terms xmlns="http://schemas.microsoft.com/office/infopath/2007/PartnerControls"/>
    </lcf76f155ced4ddcb4097134ff3c332f>
    <SharedWithUsers xmlns="f1a1fae5-4b46-4394-ba0d-5c5f66b50d06">
      <UserInfo>
        <DisplayName>Les, Michal</DisplayName>
        <AccountId>336</AccountId>
        <AccountType/>
      </UserInfo>
      <UserInfo>
        <DisplayName>Benak, Peter</DisplayName>
        <AccountId>364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69074EF004A64E9934B5FB8E1B524B" ma:contentTypeVersion="17" ma:contentTypeDescription="Create a new document." ma:contentTypeScope="" ma:versionID="3e62afdb5985003a8548ccea3591163d">
  <xsd:schema xmlns:xsd="http://www.w3.org/2001/XMLSchema" xmlns:xs="http://www.w3.org/2001/XMLSchema" xmlns:p="http://schemas.microsoft.com/office/2006/metadata/properties" xmlns:ns2="3d7e76d8-396c-4ad3-93a2-a678e2993f2b" xmlns:ns3="f1a1fae5-4b46-4394-ba0d-5c5f66b50d06" targetNamespace="http://schemas.microsoft.com/office/2006/metadata/properties" ma:root="true" ma:fieldsID="cb9ece6529c0d53e114ea7f0930f3995" ns2:_="" ns3:_="">
    <xsd:import namespace="3d7e76d8-396c-4ad3-93a2-a678e2993f2b"/>
    <xsd:import namespace="f1a1fae5-4b46-4394-ba0d-5c5f66b50d0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7e76d8-396c-4ad3-93a2-a678e2993f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a1fae5-4b46-4394-ba0d-5c5f66b50d0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bad3465-d497-421e-a6e7-7dbb02daf431}" ma:internalName="TaxCatchAll" ma:showField="CatchAllData" ma:web="f1a1fae5-4b46-4394-ba0d-5c5f66b50d0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6BFFC05-B2F6-4CED-BE65-F75B1EB7AD7B}">
  <ds:schemaRefs>
    <ds:schemaRef ds:uri="3d7e76d8-396c-4ad3-93a2-a678e2993f2b"/>
    <ds:schemaRef ds:uri="f1a1fae5-4b46-4394-ba0d-5c5f66b50d0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45AC9E-A772-446C-9754-C8020AEAE95F}">
  <ds:schemaRefs>
    <ds:schemaRef ds:uri="3d7e76d8-396c-4ad3-93a2-a678e2993f2b"/>
    <ds:schemaRef ds:uri="f1a1fae5-4b46-4394-ba0d-5c5f66b50d0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PPT_IMP_Starter-Pack_Graphik_Fixed-Accessibility_20210309</Template>
  <Application>Microsoft Office PowerPoint</Application>
  <PresentationFormat>Widescreen</PresentationFormat>
  <Slides>117</Slides>
  <Notes>113</Notes>
  <HiddenSlides>4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17</vt:i4>
      </vt:variant>
    </vt:vector>
  </HeadingPairs>
  <TitlesOfParts>
    <vt:vector size="121" baseType="lpstr">
      <vt:lpstr>Accenture 2020</vt:lpstr>
      <vt:lpstr>1_Accenture 2020</vt:lpstr>
      <vt:lpstr>Benutzerdefiniertes Design</vt:lpstr>
      <vt:lpstr>2_Accenture 2020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icture adjustment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enture  PPT Starter Pack</dc:title>
  <dc:subject>Accenture PowerPoint Template 16x9 Arial</dc:subject>
  <dc:creator>Biolik, Joanna</dc:creator>
  <cp:revision>1</cp:revision>
  <cp:lastPrinted>2023-02-22T06:30:38Z</cp:lastPrinted>
  <dcterms:created xsi:type="dcterms:W3CDTF">2021-07-08T19:22:47Z</dcterms:created>
  <dcterms:modified xsi:type="dcterms:W3CDTF">2024-04-04T12:3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69074EF004A64E9934B5FB8E1B524B</vt:lpwstr>
  </property>
  <property fmtid="{D5CDD505-2E9C-101B-9397-08002B2CF9AE}" pid="3" name="MediaServiceImageTags">
    <vt:lpwstr/>
  </property>
</Properties>
</file>